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2" r:id="rId5"/>
  </p:sldMasterIdLst>
  <p:notesMasterIdLst>
    <p:notesMasterId r:id="rId7"/>
  </p:notesMasterIdLst>
  <p:sldIdLst>
    <p:sldId id="259" r:id="rId6"/>
  </p:sldIdLst>
  <p:sldSz cx="9906000" cy="6858000" type="A4"/>
  <p:notesSz cx="6792913" cy="9925050"/>
  <p:custDataLst>
    <p:tags r:id="rId8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FF3399"/>
    <a:srgbClr val="FF6600"/>
    <a:srgbClr val="FFFF00"/>
    <a:srgbClr val="0000FF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1" autoAdjust="0"/>
    <p:restoredTop sz="89383" autoAdjust="0"/>
  </p:normalViewPr>
  <p:slideViewPr>
    <p:cSldViewPr>
      <p:cViewPr varScale="1">
        <p:scale>
          <a:sx n="99" d="100"/>
          <a:sy n="99" d="100"/>
        </p:scale>
        <p:origin x="2484" y="9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7745" y="0"/>
            <a:ext cx="2943596" cy="49797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F74A3F-6DDF-43F2-9CA4-9E1D8A23278C}" type="datetimeFigureOut">
              <a:rPr lang="en-GB" smtClean="0"/>
              <a:t>13/12/2022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76313" y="1239838"/>
            <a:ext cx="4840287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292" y="4776431"/>
            <a:ext cx="5434330" cy="390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7745" y="9427076"/>
            <a:ext cx="2943596" cy="4979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7B7CDC-80B5-454B-854A-A0120F8F4F47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5240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A Start sig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5 exercises of value 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Minimum 7 exercises of value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200" dirty="0">
                <a:latin typeface="Consolas" panose="020B0609020204030204" pitchFamily="49" charset="0"/>
              </a:rPr>
              <a:t>18-20 exerci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200" dirty="0">
                <a:latin typeface="Consolas" panose="020B0609020204030204" pitchFamily="49" charset="0"/>
              </a:rPr>
              <a:t>A Finish sign</a:t>
            </a:r>
            <a:endParaRPr lang="en-GB" sz="1200" dirty="0">
              <a:latin typeface="Consolas" panose="020B0609020204030204" pitchFamily="49" charset="0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7B7CDC-80B5-454B-854A-A0120F8F4F47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2976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C475D64C-5C35-4710-85EE-559A45758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0820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A8C93A83-F54F-4AC9-86B6-DDCE2C6BF73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fi-FI"/>
              <a:t>Muokkaa alaotsikon perustyyliä napsautt.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CDA5446-59A4-4895-A16D-AAD063ABE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2022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D7986FA7-61C1-421E-ADBA-0EF1CBA1466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992BA73F-CB5C-4A3F-BCEE-63AF6E9AF9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8567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3629176B-9D42-491A-9119-62E1A910768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  <a:prstGeom prst="rect">
            <a:avLst/>
          </a:prstGeom>
        </p:spPr>
        <p:txBody>
          <a:bodyPr vert="eaVert"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71F6CFD7-7668-4054-BDAA-229B4BE2D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38640" y="1121879"/>
            <a:ext cx="7428720" cy="2387771"/>
          </a:xfrm>
        </p:spPr>
        <p:txBody>
          <a:bodyPr anchor="b"/>
          <a:lstStyle>
            <a:lvl1pPr algn="ctr"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="" xmlns:a16="http://schemas.microsoft.com/office/drawing/2014/main" id="{A1F81A8A-F1D4-46BB-BA94-5F78A52B28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38640" y="3601819"/>
            <a:ext cx="7428720" cy="1656174"/>
          </a:xfrm>
        </p:spPr>
        <p:txBody>
          <a:bodyPr/>
          <a:lstStyle>
            <a:lvl1pPr marL="0" indent="0" algn="ctr">
              <a:buNone/>
              <a:defRPr sz="2177"/>
            </a:lvl1pPr>
            <a:lvl2pPr marL="414772" indent="0" algn="ctr">
              <a:buNone/>
              <a:defRPr sz="1814"/>
            </a:lvl2pPr>
            <a:lvl3pPr marL="829544" indent="0" algn="ctr">
              <a:buNone/>
              <a:defRPr sz="1633"/>
            </a:lvl3pPr>
            <a:lvl4pPr marL="1244316" indent="0" algn="ctr">
              <a:buNone/>
              <a:defRPr sz="1452"/>
            </a:lvl4pPr>
            <a:lvl5pPr marL="1659087" indent="0" algn="ctr">
              <a:buNone/>
              <a:defRPr sz="1452"/>
            </a:lvl5pPr>
            <a:lvl6pPr marL="2073859" indent="0" algn="ctr">
              <a:buNone/>
              <a:defRPr sz="1452"/>
            </a:lvl6pPr>
            <a:lvl7pPr marL="2488631" indent="0" algn="ctr">
              <a:buNone/>
              <a:defRPr sz="1452"/>
            </a:lvl7pPr>
            <a:lvl8pPr marL="2903403" indent="0" algn="ctr">
              <a:buNone/>
              <a:defRPr sz="1452"/>
            </a:lvl8pPr>
            <a:lvl9pPr marL="3318175" indent="0" algn="ctr">
              <a:buNone/>
              <a:defRPr sz="1452"/>
            </a:lvl9pPr>
          </a:lstStyle>
          <a:p>
            <a:r>
              <a:rPr lang="fi-FI"/>
              <a:t>Muokkaa alaotsikon perustyyliä napsautt.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5A202372-012A-45D1-8C82-35115EB95D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C18D9812-F7D6-4729-8306-4BB3BB609E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5C87C7DC-FE2C-426B-B4E7-901D456632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1D73AAFC-5EDE-402A-ABA4-49517718F453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7411569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B7FCD757-81E6-43D5-8484-34F51EABE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="" xmlns:a16="http://schemas.microsoft.com/office/drawing/2014/main" id="{3D1EF704-EF9F-4639-A4BE-C657247CDF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6BD7890B-C1EA-4785-9BF3-9818DA2D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C80ED6F3-9A38-4955-B500-86F62C5A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26877513-0328-402F-9A6C-70A900F0AF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F3A91C9D-6FDB-4D53-BD64-D178ADDC7CA1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349168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Osan ylätunni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BE1042AD-F42B-488D-81DA-DD5C218719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481" y="1709460"/>
            <a:ext cx="8544120" cy="2852939"/>
          </a:xfrm>
        </p:spPr>
        <p:txBody>
          <a:bodyPr anchor="b"/>
          <a:lstStyle>
            <a:lvl1pPr>
              <a:defRPr sz="544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="" xmlns:a16="http://schemas.microsoft.com/office/drawing/2014/main" id="{05C96F6A-30AB-4027-A332-AFA2D67C06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481" y="4589763"/>
            <a:ext cx="8544120" cy="1499197"/>
          </a:xfrm>
        </p:spPr>
        <p:txBody>
          <a:bodyPr/>
          <a:lstStyle>
            <a:lvl1pPr marL="0" indent="0">
              <a:buNone/>
              <a:defRPr sz="2177">
                <a:solidFill>
                  <a:schemeClr val="tx1">
                    <a:tint val="75000"/>
                  </a:schemeClr>
                </a:solidFill>
              </a:defRPr>
            </a:lvl1pPr>
            <a:lvl2pPr marL="414772" indent="0">
              <a:buNone/>
              <a:defRPr sz="1814">
                <a:solidFill>
                  <a:schemeClr val="tx1">
                    <a:tint val="75000"/>
                  </a:schemeClr>
                </a:solidFill>
              </a:defRPr>
            </a:lvl2pPr>
            <a:lvl3pPr marL="829544" indent="0">
              <a:buNone/>
              <a:defRPr sz="1633">
                <a:solidFill>
                  <a:schemeClr val="tx1">
                    <a:tint val="75000"/>
                  </a:schemeClr>
                </a:solidFill>
              </a:defRPr>
            </a:lvl3pPr>
            <a:lvl4pPr marL="1244316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4pPr>
            <a:lvl5pPr marL="1659087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5pPr>
            <a:lvl6pPr marL="2073859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6pPr>
            <a:lvl7pPr marL="2488631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7pPr>
            <a:lvl8pPr marL="2903403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8pPr>
            <a:lvl9pPr marL="3318175" indent="0">
              <a:buNone/>
              <a:defRPr sz="145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819F8469-305E-43C7-8803-AD9C3D3216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7FC97625-40D2-4474-89BF-AD2073C12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77AB3596-C43F-4BB4-BFB9-3BB2F0F02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CF93745-BFC2-43C5-9318-0AB3A260AD66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772579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246CBFF5-B087-42C9-9403-7FA29DF1B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="" xmlns:a16="http://schemas.microsoft.com/office/drawing/2014/main" id="{B737DE1A-6168-4ED0-92CC-81396800F3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="" xmlns:a16="http://schemas.microsoft.com/office/drawing/2014/main" id="{D423F9BB-D4AD-4E28-8C90-4E4B6BC1B8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018520" y="1604328"/>
            <a:ext cx="4374240" cy="396329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="" xmlns:a16="http://schemas.microsoft.com/office/drawing/2014/main" id="{BE9CF5A1-1350-4365-B5CD-9C3EE5AF9C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="" xmlns:a16="http://schemas.microsoft.com/office/drawing/2014/main" id="{AD65050A-BBBF-402F-9508-36D1C8965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="" xmlns:a16="http://schemas.microsoft.com/office/drawing/2014/main" id="{CFACDCE3-7228-43A7-AA53-B21AE8519E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52B85A3C-63BF-41FB-B681-BF65C1DFC2A0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970494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1E0ACEC2-BFB8-431F-B178-4211A8CA4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1" y="365798"/>
            <a:ext cx="8544120" cy="1324939"/>
          </a:xfrm>
        </p:spPr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="" xmlns:a16="http://schemas.microsoft.com/office/drawing/2014/main" id="{0C95D13A-2F86-47F1-96A3-A70A555874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81720" y="1680657"/>
            <a:ext cx="419172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Sisällön paikkamerkki 3">
            <a:extLst>
              <a:ext uri="{FF2B5EF4-FFF2-40B4-BE49-F238E27FC236}">
                <a16:creationId xmlns="" xmlns:a16="http://schemas.microsoft.com/office/drawing/2014/main" id="{40D7AFB5-0FC5-48F4-9285-E26654900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1720" y="2504424"/>
            <a:ext cx="419172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="" xmlns:a16="http://schemas.microsoft.com/office/drawing/2014/main" id="{4397556E-3923-4ECC-AB41-30B89F81578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15400" y="1680657"/>
            <a:ext cx="4210440" cy="823766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772" indent="0">
              <a:buNone/>
              <a:defRPr sz="1814" b="1"/>
            </a:lvl2pPr>
            <a:lvl3pPr marL="829544" indent="0">
              <a:buNone/>
              <a:defRPr sz="1633" b="1"/>
            </a:lvl3pPr>
            <a:lvl4pPr marL="1244316" indent="0">
              <a:buNone/>
              <a:defRPr sz="1452" b="1"/>
            </a:lvl4pPr>
            <a:lvl5pPr marL="1659087" indent="0">
              <a:buNone/>
              <a:defRPr sz="1452" b="1"/>
            </a:lvl5pPr>
            <a:lvl6pPr marL="2073859" indent="0">
              <a:buNone/>
              <a:defRPr sz="1452" b="1"/>
            </a:lvl6pPr>
            <a:lvl7pPr marL="2488631" indent="0">
              <a:buNone/>
              <a:defRPr sz="1452" b="1"/>
            </a:lvl7pPr>
            <a:lvl8pPr marL="2903403" indent="0">
              <a:buNone/>
              <a:defRPr sz="1452" b="1"/>
            </a:lvl8pPr>
            <a:lvl9pPr marL="3318175" indent="0">
              <a:buNone/>
              <a:defRPr sz="1452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Sisällön paikkamerkki 5">
            <a:extLst>
              <a:ext uri="{FF2B5EF4-FFF2-40B4-BE49-F238E27FC236}">
                <a16:creationId xmlns="" xmlns:a16="http://schemas.microsoft.com/office/drawing/2014/main" id="{352337F7-FCD3-4A10-B37D-A1BCCD87A2F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15400" y="2504424"/>
            <a:ext cx="4210440" cy="3685346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7" name="Päivämäärän paikkamerkki 6">
            <a:extLst>
              <a:ext uri="{FF2B5EF4-FFF2-40B4-BE49-F238E27FC236}">
                <a16:creationId xmlns="" xmlns:a16="http://schemas.microsoft.com/office/drawing/2014/main" id="{1180E839-6CB3-414B-8216-7557495DF8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8" name="Alatunnisteen paikkamerkki 7">
            <a:extLst>
              <a:ext uri="{FF2B5EF4-FFF2-40B4-BE49-F238E27FC236}">
                <a16:creationId xmlns="" xmlns:a16="http://schemas.microsoft.com/office/drawing/2014/main" id="{C61E16D2-5435-4CF8-AFC2-77918CBD7E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9" name="Dian numeron paikkamerkki 8">
            <a:extLst>
              <a:ext uri="{FF2B5EF4-FFF2-40B4-BE49-F238E27FC236}">
                <a16:creationId xmlns="" xmlns:a16="http://schemas.microsoft.com/office/drawing/2014/main" id="{2B01A410-C96D-4E95-95F3-8386AA4D9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B925EF18-AA17-466C-8995-30B16313BBA5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97770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4F584F75-75E9-4CF9-841D-ACB39D9439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="" xmlns:a16="http://schemas.microsoft.com/office/drawing/2014/main" id="{C1D5C0AD-7E73-4F7F-B512-061BAD938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="" xmlns:a16="http://schemas.microsoft.com/office/drawing/2014/main" id="{7BB04357-DC7A-422D-BF55-4DF389FCDC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="" xmlns:a16="http://schemas.microsoft.com/office/drawing/2014/main" id="{E6419DAB-73E9-418B-85E4-B5EE9E609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82001423-3A24-404E-9A2D-0ABF8AB58DFE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224361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äivämäärän paikkamerkki 1">
            <a:extLst>
              <a:ext uri="{FF2B5EF4-FFF2-40B4-BE49-F238E27FC236}">
                <a16:creationId xmlns="" xmlns:a16="http://schemas.microsoft.com/office/drawing/2014/main" id="{77D38E2C-D61D-4D1A-9870-5248263876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="" xmlns:a16="http://schemas.microsoft.com/office/drawing/2014/main" id="{80A01D1B-B70D-4A0A-BC88-A3F9A69F4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="" xmlns:a16="http://schemas.microsoft.com/office/drawing/2014/main" id="{C45A956A-48F1-49A8-AA99-2909B65C4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E140EFDF-43E7-4BC5-90C1-BB3E0730CEFB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30647968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Kuvateksti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CCD33D50-9D6A-4A5C-ACF2-AFFA80B52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="" xmlns:a16="http://schemas.microsoft.com/office/drawing/2014/main" id="{E66C8A98-E314-44E2-B67F-645E462012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>
              <a:defRPr sz="2903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="" xmlns:a16="http://schemas.microsoft.com/office/drawing/2014/main" id="{42F0B16D-D68F-4A0C-A2F6-3FD7AEAD75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="" xmlns:a16="http://schemas.microsoft.com/office/drawing/2014/main" id="{1554EB13-ECFD-4004-804E-EC43A1D7BD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="" xmlns:a16="http://schemas.microsoft.com/office/drawing/2014/main" id="{8AA519C9-4DFB-486E-BBFE-7B5F515C0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="" xmlns:a16="http://schemas.microsoft.com/office/drawing/2014/main" id="{A7B21077-74FE-444D-BCE0-3CE22764A4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4041693A-E587-4A87-8CDB-04052177F91C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765389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83A15F1B-7C3E-4B13-B0ED-AB1FE6F7EF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389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4777E7EC-FB7A-41E1-85D2-B8E02C16C5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uvatekstillinen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9E89C4C6-7852-41FA-BE9E-C8D603F8C5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1720" y="456528"/>
            <a:ext cx="3194880" cy="1601448"/>
          </a:xfrm>
        </p:spPr>
        <p:txBody>
          <a:bodyPr anchor="b"/>
          <a:lstStyle>
            <a:lvl1pPr>
              <a:defRPr sz="2903"/>
            </a:lvl1pPr>
          </a:lstStyle>
          <a:p>
            <a:r>
              <a:rPr lang="fi-FI"/>
              <a:t>Muokkaa ots. perustyyl. napsautt.</a:t>
            </a:r>
          </a:p>
        </p:txBody>
      </p:sp>
      <p:sp>
        <p:nvSpPr>
          <p:cNvPr id="3" name="Kuvan paikkamerkki 2">
            <a:extLst>
              <a:ext uri="{FF2B5EF4-FFF2-40B4-BE49-F238E27FC236}">
                <a16:creationId xmlns="" xmlns:a16="http://schemas.microsoft.com/office/drawing/2014/main" id="{BABF6C82-4DD3-4312-B619-8947FD4B7EB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12000" y="987944"/>
            <a:ext cx="5013840" cy="4873472"/>
          </a:xfrm>
        </p:spPr>
        <p:txBody>
          <a:bodyPr/>
          <a:lstStyle>
            <a:lvl1pPr marL="0" indent="0">
              <a:buNone/>
              <a:defRPr sz="2903"/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endParaRPr lang="fi-FI"/>
          </a:p>
        </p:txBody>
      </p:sp>
      <p:sp>
        <p:nvSpPr>
          <p:cNvPr id="4" name="Tekstin paikkamerkki 3">
            <a:extLst>
              <a:ext uri="{FF2B5EF4-FFF2-40B4-BE49-F238E27FC236}">
                <a16:creationId xmlns="" xmlns:a16="http://schemas.microsoft.com/office/drawing/2014/main" id="{9A86011C-AD63-4860-BA30-8050D49C80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81720" y="2057977"/>
            <a:ext cx="3194880" cy="3810640"/>
          </a:xfrm>
        </p:spPr>
        <p:txBody>
          <a:bodyPr/>
          <a:lstStyle>
            <a:lvl1pPr marL="0" indent="0">
              <a:buNone/>
              <a:defRPr sz="1452"/>
            </a:lvl1pPr>
            <a:lvl2pPr marL="414772" indent="0">
              <a:buNone/>
              <a:defRPr sz="1270"/>
            </a:lvl2pPr>
            <a:lvl3pPr marL="829544" indent="0">
              <a:buNone/>
              <a:defRPr sz="1089"/>
            </a:lvl3pPr>
            <a:lvl4pPr marL="1244316" indent="0">
              <a:buNone/>
              <a:defRPr sz="907"/>
            </a:lvl4pPr>
            <a:lvl5pPr marL="1659087" indent="0">
              <a:buNone/>
              <a:defRPr sz="907"/>
            </a:lvl5pPr>
            <a:lvl6pPr marL="2073859" indent="0">
              <a:buNone/>
              <a:defRPr sz="907"/>
            </a:lvl6pPr>
            <a:lvl7pPr marL="2488631" indent="0">
              <a:buNone/>
              <a:defRPr sz="907"/>
            </a:lvl7pPr>
            <a:lvl8pPr marL="2903403" indent="0">
              <a:buNone/>
              <a:defRPr sz="907"/>
            </a:lvl8pPr>
            <a:lvl9pPr marL="3318175" indent="0">
              <a:buNone/>
              <a:defRPr sz="907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="" xmlns:a16="http://schemas.microsoft.com/office/drawing/2014/main" id="{44B3AE61-CC26-4258-91CA-C33E018D9C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Alatunnisteen paikkamerkki 5">
            <a:extLst>
              <a:ext uri="{FF2B5EF4-FFF2-40B4-BE49-F238E27FC236}">
                <a16:creationId xmlns="" xmlns:a16="http://schemas.microsoft.com/office/drawing/2014/main" id="{808EEC69-5634-4408-A3EF-F9C168EB4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="" xmlns:a16="http://schemas.microsoft.com/office/drawing/2014/main" id="{034B294A-8468-4049-A00C-89A1ABCB6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7C89BB95-D478-443D-B712-8E9559F48000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64385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Otsikko ja pystysuor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="" xmlns:a16="http://schemas.microsoft.com/office/drawing/2014/main" id="{1C27925D-F7A2-44A5-9E5A-EDA3A6BCB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="" xmlns:a16="http://schemas.microsoft.com/office/drawing/2014/main" id="{4EA1F8DE-431C-47B2-A2A9-7B66ECE77E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EFFA443D-F3A9-4AA7-B58C-9B34100649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FA101EF5-543A-4E03-AC6A-9C88F6C8E7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91135614-AA99-4E30-8341-53E0CF0D5C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34B4CCD-3B18-47D5-A148-511E09F4F79A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388369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Pystysuora 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ystysuora otsikko 1">
            <a:extLst>
              <a:ext uri="{FF2B5EF4-FFF2-40B4-BE49-F238E27FC236}">
                <a16:creationId xmlns="" xmlns:a16="http://schemas.microsoft.com/office/drawing/2014/main" id="{4C8B2273-0690-476C-BE85-2FF59CFC8EA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7168201" y="273629"/>
            <a:ext cx="2224560" cy="5293996"/>
          </a:xfrm>
        </p:spPr>
        <p:txBody>
          <a:bodyPr vert="eaVert"/>
          <a:lstStyle/>
          <a:p>
            <a:r>
              <a:rPr lang="fi-FI"/>
              <a:t>Muokkaa ots. perustyyl. napsautt.</a:t>
            </a:r>
          </a:p>
        </p:txBody>
      </p:sp>
      <p:sp>
        <p:nvSpPr>
          <p:cNvPr id="3" name="Pystysuoran tekstin paikkamerkki 2">
            <a:extLst>
              <a:ext uri="{FF2B5EF4-FFF2-40B4-BE49-F238E27FC236}">
                <a16:creationId xmlns="" xmlns:a16="http://schemas.microsoft.com/office/drawing/2014/main" id="{128562FC-435C-4D03-8752-AC625CBE54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494521" y="273629"/>
            <a:ext cx="6523920" cy="5293996"/>
          </a:xfrm>
        </p:spPr>
        <p:txBody>
          <a:bodyPr vert="eaVert"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077948FE-20E7-44B1-A817-B77DF1561A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012BF600-A773-4D9D-A1C1-84FA3904C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22B5BE70-ACC6-46AE-B58D-6E61DACC37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lvl="0"/>
            <a:fld id="{DC338EE8-8539-4080-AA64-F9E18093433E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26790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B99B1D34-4986-491C-8EA0-F773871DC2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0590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="" xmlns:a16="http://schemas.microsoft.com/office/drawing/2014/main" id="{114E5686-F9A5-4A45-AD38-AE42E46B8B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D84DB1C-C2AA-44B0-A744-C8D7F76832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885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A0EF805E-727A-48F9-8288-FC2C06B69D6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="" xmlns:a16="http://schemas.microsoft.com/office/drawing/2014/main" id="{32B3CE5D-4A9B-43C6-BAFE-6E2FCDC9EC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1097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="" xmlns:a16="http://schemas.microsoft.com/office/drawing/2014/main" id="{9BD171FD-EB90-4CA8-AE93-8E5DD4CE59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="" xmlns:a16="http://schemas.microsoft.com/office/drawing/2014/main" id="{09C45570-50D9-47A0-8142-8D0183D55D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42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1640B410-9515-47D5-8853-A100B38EFD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8808F4C-D9E5-4282-B6CC-8F564A7EED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343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47C048FA-BA0D-410A-8F9A-7201F6BF7F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en-GB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="" xmlns:a16="http://schemas.microsoft.com/office/drawing/2014/main" id="{F4F2C256-ED27-45F3-894B-87788DD72E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53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="" xmlns:a16="http://schemas.microsoft.com/office/drawing/2014/main" id="{44D6D721-443E-440D-B04B-457070897E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i-FI"/>
              <a:t>Muokkaa ots. perustyyl. napsautt.</a:t>
            </a:r>
            <a:endParaRPr lang="en-GB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i-FI" noProof="0"/>
              <a:t>Lisää kuva napsauttamalla kuvaketta</a:t>
            </a:r>
            <a:endParaRPr lang="en-GB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i-FI"/>
              <a:t>Muokkaa tekstin perustyylejä</a:t>
            </a:r>
          </a:p>
        </p:txBody>
      </p:sp>
      <p:sp>
        <p:nvSpPr>
          <p:cNvPr id="5" name="Rectangle 1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 eaLnBrk="1">
              <a:defRPr/>
            </a:lvl1pPr>
          </a:lstStyle>
          <a:p>
            <a:pPr>
              <a:defRPr/>
            </a:pP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7"/>
          <p:cNvGrpSpPr>
            <a:grpSpLocks/>
          </p:cNvGrpSpPr>
          <p:nvPr/>
        </p:nvGrpSpPr>
        <p:grpSpPr bwMode="auto">
          <a:xfrm>
            <a:off x="488950" y="1268413"/>
            <a:ext cx="8964613" cy="4387850"/>
            <a:chOff x="290" y="736"/>
            <a:chExt cx="5671" cy="2872"/>
          </a:xfrm>
        </p:grpSpPr>
        <p:sp>
          <p:nvSpPr>
            <p:cNvPr id="1032" name="Rectangle 8"/>
            <p:cNvSpPr>
              <a:spLocks noChangeArrowheads="1"/>
            </p:cNvSpPr>
            <p:nvPr/>
          </p:nvSpPr>
          <p:spPr bwMode="auto">
            <a:xfrm>
              <a:off x="841" y="1022"/>
              <a:ext cx="4535" cy="2270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3" name="Rectangle 9"/>
            <p:cNvSpPr>
              <a:spLocks noChangeArrowheads="1"/>
            </p:cNvSpPr>
            <p:nvPr/>
          </p:nvSpPr>
          <p:spPr bwMode="auto">
            <a:xfrm>
              <a:off x="1968" y="1020"/>
              <a:ext cx="2274" cy="227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4" name="Line 10"/>
            <p:cNvSpPr>
              <a:spLocks noChangeShapeType="1"/>
            </p:cNvSpPr>
            <p:nvPr/>
          </p:nvSpPr>
          <p:spPr bwMode="auto">
            <a:xfrm flipH="1">
              <a:off x="3117" y="1053"/>
              <a:ext cx="13" cy="2555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5" name="Line 11"/>
            <p:cNvSpPr>
              <a:spLocks noChangeShapeType="1"/>
            </p:cNvSpPr>
            <p:nvPr/>
          </p:nvSpPr>
          <p:spPr bwMode="auto">
            <a:xfrm>
              <a:off x="290" y="2157"/>
              <a:ext cx="5671" cy="1"/>
            </a:xfrm>
            <a:prstGeom prst="line">
              <a:avLst/>
            </a:prstGeom>
            <a:noFill/>
            <a:ln w="28575">
              <a:solidFill>
                <a:srgbClr val="CCFF99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pPr eaLnBrk="1">
                <a:defRPr/>
              </a:pPr>
              <a:endParaRPr lang="en-GB" dirty="0"/>
            </a:p>
          </p:txBody>
        </p:sp>
        <p:sp>
          <p:nvSpPr>
            <p:cNvPr id="1036" name="Rectangle 12"/>
            <p:cNvSpPr>
              <a:spLocks noChangeArrowheads="1"/>
            </p:cNvSpPr>
            <p:nvPr/>
          </p:nvSpPr>
          <p:spPr bwMode="auto">
            <a:xfrm>
              <a:off x="296" y="736"/>
              <a:ext cx="5664" cy="2848"/>
            </a:xfrm>
            <a:prstGeom prst="rect">
              <a:avLst/>
            </a:prstGeom>
            <a:noFill/>
            <a:ln w="28575">
              <a:solidFill>
                <a:srgbClr val="CCFF99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eaLnBrk="1">
                <a:defRPr/>
              </a:pPr>
              <a:endParaRPr lang="en-GB" dirty="0"/>
            </a:p>
          </p:txBody>
        </p:sp>
      </p:grpSp>
      <p:sp>
        <p:nvSpPr>
          <p:cNvPr id="1037" name="Text Box 13"/>
          <p:cNvSpPr txBox="1">
            <a:spLocks noChangeArrowheads="1"/>
          </p:cNvSpPr>
          <p:nvPr/>
        </p:nvSpPr>
        <p:spPr bwMode="auto">
          <a:xfrm>
            <a:off x="8337550" y="6305550"/>
            <a:ext cx="1241425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defTabSz="1135063">
              <a:defRPr/>
            </a:pPr>
            <a:r>
              <a:rPr lang="en-GB" sz="1200" dirty="0"/>
              <a:t>12,5 x 25 meter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60388" y="6308725"/>
            <a:ext cx="1527175" cy="34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>
              <a:defRPr sz="120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3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on paikkamerkki 1">
            <a:extLst>
              <a:ext uri="{FF2B5EF4-FFF2-40B4-BE49-F238E27FC236}">
                <a16:creationId xmlns="" xmlns:a16="http://schemas.microsoft.com/office/drawing/2014/main" id="{C60D0987-1C1B-49DE-B65E-B3114540878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4208" y="273352"/>
            <a:ext cx="8898220" cy="1130312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anchor="ctr" anchorCtr="0" compatLnSpc="1"/>
          <a:lstStyle/>
          <a:p>
            <a:endParaRPr lang="fi-FI"/>
          </a:p>
        </p:txBody>
      </p:sp>
      <p:sp>
        <p:nvSpPr>
          <p:cNvPr id="3" name="Tekstin paikkamerkki 2">
            <a:extLst>
              <a:ext uri="{FF2B5EF4-FFF2-40B4-BE49-F238E27FC236}">
                <a16:creationId xmlns="" xmlns:a16="http://schemas.microsoft.com/office/drawing/2014/main" id="{189D2411-AB9F-4894-8A94-35E969D017C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494208" y="1604188"/>
            <a:ext cx="8898220" cy="3963441"/>
          </a:xfrm>
          <a:prstGeom prst="rect">
            <a:avLst/>
          </a:prstGeom>
          <a:noFill/>
          <a:ln>
            <a:noFill/>
          </a:ln>
        </p:spPr>
        <p:txBody>
          <a:bodyPr vert="horz" lIns="0" tIns="28440" rIns="0" bIns="0" anchor="t" anchorCtr="0" compatLnSpc="1">
            <a:noAutofit/>
          </a:bodyPr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="" xmlns:a16="http://schemas.microsoft.com/office/drawing/2014/main" id="{3BA34C4E-B80F-45CE-AD89-B2E8219AFC46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494562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5" name="Alatunnisteen paikkamerkki 4">
            <a:extLst>
              <a:ext uri="{FF2B5EF4-FFF2-40B4-BE49-F238E27FC236}">
                <a16:creationId xmlns="" xmlns:a16="http://schemas.microsoft.com/office/drawing/2014/main" id="{2DE1C5F9-DCFD-4D5B-8CB3-DC26385E2355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3387996" y="6246927"/>
            <a:ext cx="3124795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endParaRPr lang="fi-FI"/>
          </a:p>
        </p:txBody>
      </p:sp>
      <p:sp>
        <p:nvSpPr>
          <p:cNvPr id="6" name="Dian numeron paikkamerkki 5">
            <a:extLst>
              <a:ext uri="{FF2B5EF4-FFF2-40B4-BE49-F238E27FC236}">
                <a16:creationId xmlns="" xmlns:a16="http://schemas.microsoft.com/office/drawing/2014/main" id="{77768813-1B8D-43D0-841C-C44EB3EC6933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7102515" y="6246927"/>
            <a:ext cx="2291682" cy="45819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>
            <a:lvl1pPr marL="0" marR="0" lvl="0" indent="0" algn="l" rtl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>
                <a:tab pos="0" algn="l"/>
                <a:tab pos="407259" algn="l"/>
                <a:tab pos="814846" algn="l"/>
                <a:tab pos="1222434" algn="l"/>
                <a:tab pos="1630021" algn="l"/>
                <a:tab pos="2037607" algn="l"/>
                <a:tab pos="2445194" algn="l"/>
                <a:tab pos="2852781" algn="l"/>
                <a:tab pos="3260368" algn="l"/>
                <a:tab pos="3667954" algn="l"/>
                <a:tab pos="4075542" algn="l"/>
                <a:tab pos="4483127" algn="l"/>
                <a:tab pos="4890715" algn="l"/>
                <a:tab pos="5298302" algn="l"/>
                <a:tab pos="5705889" algn="l"/>
                <a:tab pos="6113476" algn="l"/>
                <a:tab pos="6521062" algn="l"/>
                <a:tab pos="6928649" algn="l"/>
                <a:tab pos="7336235" algn="l"/>
                <a:tab pos="7743823" algn="l"/>
                <a:tab pos="8151410" algn="l"/>
              </a:tabLst>
              <a:defRPr lang="fi-FI" sz="1633" b="0" i="0" u="none" strike="noStrike" baseline="0">
                <a:solidFill>
                  <a:srgbClr val="000000"/>
                </a:solidFill>
                <a:latin typeface="Arial" pitchFamily="18"/>
                <a:ea typeface="Microsoft YaHei" pitchFamily="2"/>
                <a:cs typeface="Microsoft YaHei" pitchFamily="2"/>
              </a:defRPr>
            </a:lvl1pPr>
          </a:lstStyle>
          <a:p>
            <a:pPr lvl="0"/>
            <a:fld id="{B39DFD70-D03B-4F0C-8F0B-BEC6EBD59116}" type="slidenum">
              <a:t>‹nr.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92902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marL="0" marR="0" indent="0" algn="ctr" rtl="0" hangingPunct="0">
        <a:lnSpc>
          <a:spcPct val="93000"/>
        </a:lnSpc>
        <a:spcBef>
          <a:spcPts val="0"/>
        </a:spcBef>
        <a:spcAft>
          <a:spcPts val="0"/>
        </a:spcAft>
        <a:tabLst>
          <a:tab pos="0" algn="l"/>
          <a:tab pos="407259" algn="l"/>
          <a:tab pos="814846" algn="l"/>
          <a:tab pos="1222434" algn="l"/>
          <a:tab pos="1630021" algn="l"/>
          <a:tab pos="2037607" algn="l"/>
          <a:tab pos="2445194" algn="l"/>
          <a:tab pos="2852781" algn="l"/>
          <a:tab pos="3260368" algn="l"/>
          <a:tab pos="3667954" algn="l"/>
          <a:tab pos="4075542" algn="l"/>
          <a:tab pos="4483127" algn="l"/>
          <a:tab pos="4890715" algn="l"/>
          <a:tab pos="5298302" algn="l"/>
          <a:tab pos="5705889" algn="l"/>
          <a:tab pos="6113476" algn="l"/>
          <a:tab pos="6521062" algn="l"/>
          <a:tab pos="6928649" algn="l"/>
          <a:tab pos="7336235" algn="l"/>
          <a:tab pos="7743823" algn="l"/>
          <a:tab pos="8151410" algn="l"/>
        </a:tabLst>
        <a:defRPr lang="fi-FI" sz="3992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</p:titleStyle>
    <p:bodyStyle>
      <a:lvl1pPr marL="310916" marR="0" indent="-310916" algn="l" rtl="0" hangingPunct="0">
        <a:lnSpc>
          <a:spcPct val="93000"/>
        </a:lnSpc>
        <a:spcBef>
          <a:spcPts val="1281"/>
        </a:spcBef>
        <a:spcAft>
          <a:spcPts val="0"/>
        </a:spcAft>
        <a:tabLst>
          <a:tab pos="310916" algn="l"/>
          <a:tab pos="407260" algn="l"/>
          <a:tab pos="814847" algn="l"/>
          <a:tab pos="1222434" algn="l"/>
          <a:tab pos="1630021" algn="l"/>
          <a:tab pos="2037607" algn="l"/>
          <a:tab pos="2445194" algn="l"/>
          <a:tab pos="2852781" algn="l"/>
          <a:tab pos="3260367" algn="l"/>
          <a:tab pos="3667955" algn="l"/>
          <a:tab pos="4075541" algn="l"/>
          <a:tab pos="4482802" algn="l"/>
          <a:tab pos="4890389" algn="l"/>
          <a:tab pos="5297975" algn="l"/>
          <a:tab pos="5705562" algn="l"/>
          <a:tab pos="6113148" algn="l"/>
          <a:tab pos="6520736" algn="l"/>
          <a:tab pos="6928322" algn="l"/>
          <a:tab pos="7335910" algn="l"/>
          <a:tab pos="7743496" algn="l"/>
          <a:tab pos="8151083" algn="l"/>
        </a:tabLst>
        <a:defRPr lang="fi-FI" sz="2903" b="0" i="0" u="none" strike="noStrike" cap="none" baseline="0">
          <a:ln>
            <a:noFill/>
          </a:ln>
          <a:solidFill>
            <a:srgbClr val="000000"/>
          </a:solidFill>
          <a:highlight>
            <a:scrgbClr r="0" g="0" b="0">
              <a:alpha val="0"/>
            </a:scrgbClr>
          </a:highlight>
          <a:latin typeface="Arial" pitchFamily="18"/>
          <a:ea typeface="Microsoft YaHei" pitchFamily="2"/>
        </a:defRPr>
      </a:lvl1pPr>
      <a:lvl2pPr marL="622158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63" Type="http://schemas.openxmlformats.org/officeDocument/2006/relationships/image" Target="../media/image63.png"/><Relationship Id="rId68" Type="http://schemas.openxmlformats.org/officeDocument/2006/relationships/image" Target="../media/image68.png"/><Relationship Id="rId76" Type="http://schemas.openxmlformats.org/officeDocument/2006/relationships/image" Target="../media/image76.png"/><Relationship Id="rId84" Type="http://schemas.openxmlformats.org/officeDocument/2006/relationships/image" Target="../media/image84.png"/><Relationship Id="rId89" Type="http://schemas.openxmlformats.org/officeDocument/2006/relationships/image" Target="../media/image89.png"/><Relationship Id="rId7" Type="http://schemas.openxmlformats.org/officeDocument/2006/relationships/image" Target="../media/image7.png"/><Relationship Id="rId71" Type="http://schemas.openxmlformats.org/officeDocument/2006/relationships/image" Target="../media/image71.png"/><Relationship Id="rId92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6.png"/><Relationship Id="rId29" Type="http://schemas.openxmlformats.org/officeDocument/2006/relationships/image" Target="../media/image29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66" Type="http://schemas.openxmlformats.org/officeDocument/2006/relationships/image" Target="../media/image66.png"/><Relationship Id="rId74" Type="http://schemas.openxmlformats.org/officeDocument/2006/relationships/image" Target="../media/image74.png"/><Relationship Id="rId79" Type="http://schemas.openxmlformats.org/officeDocument/2006/relationships/image" Target="../media/image79.png"/><Relationship Id="rId87" Type="http://schemas.openxmlformats.org/officeDocument/2006/relationships/image" Target="../media/image87.png"/><Relationship Id="rId5" Type="http://schemas.openxmlformats.org/officeDocument/2006/relationships/image" Target="../media/image5.jpg"/><Relationship Id="rId61" Type="http://schemas.openxmlformats.org/officeDocument/2006/relationships/image" Target="../media/image61.png"/><Relationship Id="rId82" Type="http://schemas.openxmlformats.org/officeDocument/2006/relationships/image" Target="../media/image82.png"/><Relationship Id="rId90" Type="http://schemas.openxmlformats.org/officeDocument/2006/relationships/image" Target="../media/image90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56" Type="http://schemas.openxmlformats.org/officeDocument/2006/relationships/image" Target="../media/image56.png"/><Relationship Id="rId64" Type="http://schemas.openxmlformats.org/officeDocument/2006/relationships/image" Target="../media/image64.png"/><Relationship Id="rId69" Type="http://schemas.openxmlformats.org/officeDocument/2006/relationships/image" Target="../media/image69.png"/><Relationship Id="rId77" Type="http://schemas.openxmlformats.org/officeDocument/2006/relationships/image" Target="../media/image77.png"/><Relationship Id="rId8" Type="http://schemas.openxmlformats.org/officeDocument/2006/relationships/image" Target="../media/image8.jpeg"/><Relationship Id="rId51" Type="http://schemas.openxmlformats.org/officeDocument/2006/relationships/image" Target="../media/image51.png"/><Relationship Id="rId72" Type="http://schemas.openxmlformats.org/officeDocument/2006/relationships/image" Target="../media/image72.png"/><Relationship Id="rId80" Type="http://schemas.openxmlformats.org/officeDocument/2006/relationships/image" Target="../media/image80.png"/><Relationship Id="rId85" Type="http://schemas.openxmlformats.org/officeDocument/2006/relationships/image" Target="../media/image85.png"/><Relationship Id="rId93" Type="http://schemas.openxmlformats.org/officeDocument/2006/relationships/image" Target="../media/image93.png"/><Relationship Id="rId3" Type="http://schemas.openxmlformats.org/officeDocument/2006/relationships/image" Target="../media/image3.jp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67" Type="http://schemas.openxmlformats.org/officeDocument/2006/relationships/image" Target="../media/image67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70" Type="http://schemas.openxmlformats.org/officeDocument/2006/relationships/image" Target="../media/image70.png"/><Relationship Id="rId75" Type="http://schemas.openxmlformats.org/officeDocument/2006/relationships/image" Target="../media/image75.png"/><Relationship Id="rId83" Type="http://schemas.openxmlformats.org/officeDocument/2006/relationships/image" Target="../media/image83.png"/><Relationship Id="rId88" Type="http://schemas.openxmlformats.org/officeDocument/2006/relationships/image" Target="../media/image88.png"/><Relationship Id="rId91" Type="http://schemas.openxmlformats.org/officeDocument/2006/relationships/image" Target="../media/image91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6.jp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65" Type="http://schemas.openxmlformats.org/officeDocument/2006/relationships/image" Target="../media/image65.png"/><Relationship Id="rId73" Type="http://schemas.openxmlformats.org/officeDocument/2006/relationships/image" Target="../media/image73.png"/><Relationship Id="rId78" Type="http://schemas.openxmlformats.org/officeDocument/2006/relationships/image" Target="../media/image78.png"/><Relationship Id="rId81" Type="http://schemas.openxmlformats.org/officeDocument/2006/relationships/image" Target="../media/image81.png"/><Relationship Id="rId86" Type="http://schemas.openxmlformats.org/officeDocument/2006/relationships/image" Target="../media/image86.png"/><Relationship Id="rId94" Type="http://schemas.openxmlformats.org/officeDocument/2006/relationships/image" Target="../media/image94.png"/><Relationship Id="rId4" Type="http://schemas.openxmlformats.org/officeDocument/2006/relationships/image" Target="../media/image4.jpg"/><Relationship Id="rId9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" name="Bilde 85">
            <a:extLst>
              <a:ext uri="{FF2B5EF4-FFF2-40B4-BE49-F238E27FC236}">
                <a16:creationId xmlns=""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859676" y="5869514"/>
            <a:ext cx="639759" cy="450000"/>
          </a:xfrm>
          <a:prstGeom prst="rect">
            <a:avLst/>
          </a:prstGeom>
        </p:spPr>
      </p:pic>
      <p:pic>
        <p:nvPicPr>
          <p:cNvPr id="134" name="Bilde 85">
            <a:extLst>
              <a:ext uri="{FF2B5EF4-FFF2-40B4-BE49-F238E27FC236}">
                <a16:creationId xmlns=""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17" y="260648"/>
            <a:ext cx="639759" cy="450000"/>
          </a:xfrm>
          <a:prstGeom prst="rect">
            <a:avLst/>
          </a:prstGeom>
        </p:spPr>
      </p:pic>
      <p:sp>
        <p:nvSpPr>
          <p:cNvPr id="2" name="Text Box 4">
            <a:extLst>
              <a:ext uri="{FF2B5EF4-FFF2-40B4-BE49-F238E27FC236}">
                <a16:creationId xmlns="" xmlns:a16="http://schemas.microsoft.com/office/drawing/2014/main" id="{4E19FBF7-5F82-48DD-85A0-BCC853B5EA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486" y="84784"/>
            <a:ext cx="335850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smtClean="0">
                <a:latin typeface="Consolas" panose="020B0609020204030204" pitchFamily="49" charset="0"/>
              </a:rPr>
              <a:t>Sirius </a:t>
            </a:r>
            <a:r>
              <a:rPr lang="en-GB" sz="1100" smtClean="0">
                <a:latin typeface="Consolas" panose="020B0609020204030204" pitchFamily="49" charset="0"/>
              </a:rPr>
              <a:t>Rally </a:t>
            </a:r>
            <a:r>
              <a:rPr lang="en-GB" sz="1100" dirty="0" smtClean="0">
                <a:latin typeface="Consolas" panose="020B0609020204030204" pitchFamily="49" charset="0"/>
              </a:rPr>
              <a:t>Star </a:t>
            </a:r>
            <a:r>
              <a:rPr lang="en-GB" sz="1100" dirty="0">
                <a:latin typeface="Consolas" panose="020B0609020204030204" pitchFamily="49" charset="0"/>
              </a:rPr>
              <a:t>Nordic </a:t>
            </a:r>
            <a:r>
              <a:rPr lang="en-GB" sz="1100" dirty="0" smtClean="0">
                <a:latin typeface="Consolas" panose="020B0609020204030204" pitchFamily="49" charset="0"/>
              </a:rPr>
              <a:t>Class</a:t>
            </a:r>
            <a:endParaRPr lang="en-GB" sz="1100" dirty="0">
              <a:latin typeface="Consolas" panose="020B0609020204030204" pitchFamily="49" charset="0"/>
            </a:endParaRPr>
          </a:p>
        </p:txBody>
      </p:sp>
      <p:sp>
        <p:nvSpPr>
          <p:cNvPr id="3" name="Text Box 5">
            <a:extLst>
              <a:ext uri="{FF2B5EF4-FFF2-40B4-BE49-F238E27FC236}">
                <a16:creationId xmlns="" xmlns:a16="http://schemas.microsoft.com/office/drawing/2014/main" id="{BC478028-FEF8-4599-8087-BB2EEC8EBC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49144" y="44624"/>
            <a:ext cx="208823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 err="1" smtClean="0">
                <a:latin typeface="Consolas" panose="020B0609020204030204" pitchFamily="49" charset="0"/>
              </a:rPr>
              <a:t>Judge:HG</a:t>
            </a:r>
            <a:r>
              <a:rPr lang="en-GB" sz="1100" dirty="0" smtClean="0">
                <a:latin typeface="Consolas" panose="020B0609020204030204" pitchFamily="49" charset="0"/>
              </a:rPr>
              <a:t>/WB</a:t>
            </a:r>
            <a:endParaRPr lang="en-GB" sz="1100" dirty="0">
              <a:latin typeface="Consolas" panose="020B0609020204030204" pitchFamily="49" charset="0"/>
            </a:endParaRPr>
          </a:p>
        </p:txBody>
      </p:sp>
      <p:sp>
        <p:nvSpPr>
          <p:cNvPr id="4" name="Text Box 97">
            <a:extLst>
              <a:ext uri="{FF2B5EF4-FFF2-40B4-BE49-F238E27FC236}">
                <a16:creationId xmlns="" xmlns:a16="http://schemas.microsoft.com/office/drawing/2014/main" id="{5BBD3C34-654D-4BF4-A6DA-E4F4712F6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05032" y="44624"/>
            <a:ext cx="184026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35063"/>
            <a:r>
              <a:rPr lang="en-GB" sz="1100" dirty="0">
                <a:latin typeface="Consolas" panose="020B0609020204030204" pitchFamily="49" charset="0"/>
              </a:rPr>
              <a:t>Date</a:t>
            </a:r>
            <a:r>
              <a:rPr lang="en-GB" sz="1100" dirty="0" smtClean="0">
                <a:latin typeface="Consolas" panose="020B0609020204030204" pitchFamily="49" charset="0"/>
              </a:rPr>
              <a:t>: 1</a:t>
            </a:r>
            <a:r>
              <a:rPr lang="en-GB" sz="1100" baseline="30000" dirty="0" smtClean="0">
                <a:latin typeface="Consolas" panose="020B0609020204030204" pitchFamily="49" charset="0"/>
              </a:rPr>
              <a:t>st</a:t>
            </a:r>
            <a:r>
              <a:rPr lang="en-GB" sz="1100" dirty="0" smtClean="0">
                <a:latin typeface="Consolas" panose="020B0609020204030204" pitchFamily="49" charset="0"/>
              </a:rPr>
              <a:t> </a:t>
            </a:r>
            <a:r>
              <a:rPr lang="en-GB" sz="1100" smtClean="0">
                <a:latin typeface="Consolas" panose="020B0609020204030204" pitchFamily="49" charset="0"/>
              </a:rPr>
              <a:t>quarter 2023 </a:t>
            </a:r>
            <a:endParaRPr lang="en-GB" sz="1100" dirty="0">
              <a:latin typeface="Consolas" panose="020B0609020204030204" pitchFamily="49" charset="0"/>
            </a:endParaRPr>
          </a:p>
        </p:txBody>
      </p:sp>
      <p:graphicFrame>
        <p:nvGraphicFramePr>
          <p:cNvPr id="5" name="Group 112">
            <a:extLst>
              <a:ext uri="{FF2B5EF4-FFF2-40B4-BE49-F238E27FC236}">
                <a16:creationId xmlns="" xmlns:a16="http://schemas.microsoft.com/office/drawing/2014/main" id="{61A8DE53-A4C1-40B7-A570-31E1FBBCC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299053"/>
              </p:ext>
            </p:extLst>
          </p:nvPr>
        </p:nvGraphicFramePr>
        <p:xfrm>
          <a:off x="272480" y="6309320"/>
          <a:ext cx="8018588" cy="487680"/>
        </p:xfrm>
        <a:graphic>
          <a:graphicData uri="http://schemas.openxmlformats.org/drawingml/2006/table">
            <a:tbl>
              <a:tblPr/>
              <a:tblGrid>
                <a:gridCol w="8905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0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1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2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3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4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5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6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7"/>
                    </a:ext>
                  </a:extLst>
                </a:gridCol>
                <a:gridCol w="396000">
                  <a:extLst>
                    <a:ext uri="{9D8B030D-6E8A-4147-A177-3AD203B41FA5}">
                      <a16:colId xmlns="" xmlns:a16="http://schemas.microsoft.com/office/drawing/2014/main" val="20018"/>
                    </a:ext>
                  </a:extLst>
                </a:gridCol>
              </a:tblGrid>
              <a:tr h="1746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Sign no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9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0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1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2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3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4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5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6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7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18</a:t>
                      </a:r>
                      <a:endParaRPr kumimoji="0" lang="en-GB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  <a:cs typeface="Times New Roman" pitchFamily="18" charset="0"/>
                        </a:rPr>
                        <a:t>Exercise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08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8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202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211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6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305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7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201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4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04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306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5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309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110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312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11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313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onsolas" panose="020B0609020204030204" pitchFamily="49" charset="0"/>
                        </a:rPr>
                        <a:t>401</a:t>
                      </a:r>
                      <a:endParaRPr kumimoji="0" lang="en-GB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onsolas" panose="020B0609020204030204" pitchFamily="49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03" name="Bilde 85">
            <a:extLst>
              <a:ext uri="{FF2B5EF4-FFF2-40B4-BE49-F238E27FC236}">
                <a16:creationId xmlns="" xmlns:a16="http://schemas.microsoft.com/office/drawing/2014/main" id="{569821BF-C7E1-48C1-86A5-5FECE8618B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307" y="-1035496"/>
            <a:ext cx="639759" cy="450000"/>
          </a:xfrm>
          <a:prstGeom prst="rect">
            <a:avLst/>
          </a:prstGeom>
        </p:spPr>
      </p:pic>
      <p:pic>
        <p:nvPicPr>
          <p:cNvPr id="104" name="Bilde 103">
            <a:extLst>
              <a:ext uri="{FF2B5EF4-FFF2-40B4-BE49-F238E27FC236}">
                <a16:creationId xmlns="" xmlns:a16="http://schemas.microsoft.com/office/drawing/2014/main" id="{E68FFC1B-10AC-48E8-A76A-887C0D518B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2287" y="-1038069"/>
            <a:ext cx="639759" cy="450000"/>
          </a:xfrm>
          <a:prstGeom prst="rect">
            <a:avLst/>
          </a:prstGeom>
        </p:spPr>
      </p:pic>
      <p:pic>
        <p:nvPicPr>
          <p:cNvPr id="105" name="Bilde 89">
            <a:extLst>
              <a:ext uri="{FF2B5EF4-FFF2-40B4-BE49-F238E27FC236}">
                <a16:creationId xmlns="" xmlns:a16="http://schemas.microsoft.com/office/drawing/2014/main" id="{84587C8C-35D7-4C56-BCC9-CAB9A5D26A6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205" y="-1038069"/>
            <a:ext cx="639759" cy="450000"/>
          </a:xfrm>
          <a:prstGeom prst="rect">
            <a:avLst/>
          </a:prstGeom>
        </p:spPr>
      </p:pic>
      <p:pic>
        <p:nvPicPr>
          <p:cNvPr id="106" name="Bilde 91">
            <a:extLst>
              <a:ext uri="{FF2B5EF4-FFF2-40B4-BE49-F238E27FC236}">
                <a16:creationId xmlns="" xmlns:a16="http://schemas.microsoft.com/office/drawing/2014/main" id="{8B4D4A73-8334-4ED2-A08E-75565BA490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462" y="-1085329"/>
            <a:ext cx="639759" cy="450000"/>
          </a:xfrm>
          <a:prstGeom prst="rect">
            <a:avLst/>
          </a:prstGeom>
        </p:spPr>
      </p:pic>
      <p:pic>
        <p:nvPicPr>
          <p:cNvPr id="107" name="Bilde 93">
            <a:extLst>
              <a:ext uri="{FF2B5EF4-FFF2-40B4-BE49-F238E27FC236}">
                <a16:creationId xmlns="" xmlns:a16="http://schemas.microsoft.com/office/drawing/2014/main" id="{11619001-4F8C-4CA9-B316-BFA68170200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3"/>
          <a:stretch/>
        </p:blipFill>
        <p:spPr>
          <a:xfrm>
            <a:off x="3647387" y="-1035496"/>
            <a:ext cx="424579" cy="450000"/>
          </a:xfrm>
          <a:prstGeom prst="rect">
            <a:avLst/>
          </a:prstGeom>
        </p:spPr>
      </p:pic>
      <p:pic>
        <p:nvPicPr>
          <p:cNvPr id="108" name="Bilde 2">
            <a:extLst>
              <a:ext uri="{FF2B5EF4-FFF2-40B4-BE49-F238E27FC236}">
                <a16:creationId xmlns="" xmlns:a16="http://schemas.microsoft.com/office/drawing/2014/main" id="{B51BBE99-1E1A-4704-898B-7F1D893073B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991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9" name="Bilde 166">
            <a:extLst>
              <a:ext uri="{FF2B5EF4-FFF2-40B4-BE49-F238E27FC236}">
                <a16:creationId xmlns="" xmlns:a16="http://schemas.microsoft.com/office/drawing/2014/main" id="{4C601C65-67FC-4D2B-83C4-5CEF587CD25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2087" y="-1032002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10" name="Tekstikehys 71">
            <a:extLst>
              <a:ext uri="{FF2B5EF4-FFF2-40B4-BE49-F238E27FC236}">
                <a16:creationId xmlns="" xmlns:a16="http://schemas.microsoft.com/office/drawing/2014/main" id="{FD31A536-6E1F-410C-AAAA-83E1AE6510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1780" y="429458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</a:t>
            </a:r>
          </a:p>
        </p:txBody>
      </p:sp>
      <p:sp>
        <p:nvSpPr>
          <p:cNvPr id="111" name="Tekstikehys 71">
            <a:extLst>
              <a:ext uri="{FF2B5EF4-FFF2-40B4-BE49-F238E27FC236}">
                <a16:creationId xmlns="" xmlns:a16="http://schemas.microsoft.com/office/drawing/2014/main" id="{0576916B-91A4-4973-A88B-45BDC9EB3BD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0064" y="131332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2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2" name="Tekstikehys 71">
            <a:extLst>
              <a:ext uri="{FF2B5EF4-FFF2-40B4-BE49-F238E27FC236}">
                <a16:creationId xmlns="" xmlns:a16="http://schemas.microsoft.com/office/drawing/2014/main" id="{00B037B8-136B-4D7B-856A-E779AF45A3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92945" y="95251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3</a:t>
            </a:r>
          </a:p>
        </p:txBody>
      </p:sp>
      <p:sp>
        <p:nvSpPr>
          <p:cNvPr id="113" name="Tekstikehys 71">
            <a:extLst>
              <a:ext uri="{FF2B5EF4-FFF2-40B4-BE49-F238E27FC236}">
                <a16:creationId xmlns="" xmlns:a16="http://schemas.microsoft.com/office/drawing/2014/main" id="{3BAB6A5C-7D50-47AF-A12C-B4DA97B701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7664" y="61872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4</a:t>
            </a:r>
          </a:p>
        </p:txBody>
      </p:sp>
      <p:sp>
        <p:nvSpPr>
          <p:cNvPr id="114" name="Tekstikehys 71">
            <a:extLst>
              <a:ext uri="{FF2B5EF4-FFF2-40B4-BE49-F238E27FC236}">
                <a16:creationId xmlns="" xmlns:a16="http://schemas.microsoft.com/office/drawing/2014/main" id="{B281C622-8B53-454C-8B1F-90C14A11C8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47387" y="175815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5</a:t>
            </a:r>
          </a:p>
        </p:txBody>
      </p:sp>
      <p:sp>
        <p:nvSpPr>
          <p:cNvPr id="115" name="Tekstikehys 71">
            <a:extLst>
              <a:ext uri="{FF2B5EF4-FFF2-40B4-BE49-F238E27FC236}">
                <a16:creationId xmlns="" xmlns:a16="http://schemas.microsoft.com/office/drawing/2014/main" id="{4BFFA491-A1F5-41DE-9DD7-2BEC0A8828B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00534" y="3563541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6</a:t>
            </a:r>
          </a:p>
        </p:txBody>
      </p:sp>
      <p:sp>
        <p:nvSpPr>
          <p:cNvPr id="116" name="Tekstikehys 71">
            <a:extLst>
              <a:ext uri="{FF2B5EF4-FFF2-40B4-BE49-F238E27FC236}">
                <a16:creationId xmlns="" xmlns:a16="http://schemas.microsoft.com/office/drawing/2014/main" id="{EA72C8A1-7F0F-4B8D-BF16-0BF838CBB5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7065" y="493036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7</a:t>
            </a:r>
          </a:p>
        </p:txBody>
      </p:sp>
      <p:sp>
        <p:nvSpPr>
          <p:cNvPr id="117" name="Tekstikehys 71">
            <a:extLst>
              <a:ext uri="{FF2B5EF4-FFF2-40B4-BE49-F238E27FC236}">
                <a16:creationId xmlns="" xmlns:a16="http://schemas.microsoft.com/office/drawing/2014/main" id="{6D2390EE-CE7B-4135-B01C-757EEA60C4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25008" y="597169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latin typeface="Consolas" panose="020B0609020204030204" pitchFamily="49" charset="0"/>
              </a:rPr>
              <a:t>8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18" name="Tekstikehys 71">
            <a:extLst>
              <a:ext uri="{FF2B5EF4-FFF2-40B4-BE49-F238E27FC236}">
                <a16:creationId xmlns="" xmlns:a16="http://schemas.microsoft.com/office/drawing/2014/main" id="{B2E299B8-0AD3-42B0-9512-F37174401E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704199" y="575917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9</a:t>
            </a:r>
          </a:p>
        </p:txBody>
      </p:sp>
      <p:sp>
        <p:nvSpPr>
          <p:cNvPr id="119" name="Tekstikehys 71">
            <a:extLst>
              <a:ext uri="{FF2B5EF4-FFF2-40B4-BE49-F238E27FC236}">
                <a16:creationId xmlns="" xmlns:a16="http://schemas.microsoft.com/office/drawing/2014/main" id="{266832ED-E640-4BE7-92DB-E308A43EFC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900121" y="4453369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0</a:t>
            </a:r>
          </a:p>
        </p:txBody>
      </p:sp>
      <p:sp>
        <p:nvSpPr>
          <p:cNvPr id="120" name="Tekstikehys 71">
            <a:extLst>
              <a:ext uri="{FF2B5EF4-FFF2-40B4-BE49-F238E27FC236}">
                <a16:creationId xmlns="" xmlns:a16="http://schemas.microsoft.com/office/drawing/2014/main" id="{4FD73A68-8705-40AE-84DF-F2C99BA3AB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51219" y="248411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1</a:t>
            </a:r>
          </a:p>
        </p:txBody>
      </p:sp>
      <p:sp>
        <p:nvSpPr>
          <p:cNvPr id="121" name="Tekstikehys 71">
            <a:extLst>
              <a:ext uri="{FF2B5EF4-FFF2-40B4-BE49-F238E27FC236}">
                <a16:creationId xmlns="" xmlns:a16="http://schemas.microsoft.com/office/drawing/2014/main" id="{DC34A66C-6966-4414-AB88-D696A88E0B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94947" y="898600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2</a:t>
            </a:r>
          </a:p>
        </p:txBody>
      </p:sp>
      <p:sp>
        <p:nvSpPr>
          <p:cNvPr id="122" name="Tekstikehys 71">
            <a:extLst>
              <a:ext uri="{FF2B5EF4-FFF2-40B4-BE49-F238E27FC236}">
                <a16:creationId xmlns="" xmlns:a16="http://schemas.microsoft.com/office/drawing/2014/main" id="{B2FAF4E2-C94F-40B9-A192-4E750285DF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73572" y="965572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3</a:t>
            </a:r>
          </a:p>
        </p:txBody>
      </p:sp>
      <p:sp>
        <p:nvSpPr>
          <p:cNvPr id="123" name="Tekstikehys 71">
            <a:extLst>
              <a:ext uri="{FF2B5EF4-FFF2-40B4-BE49-F238E27FC236}">
                <a16:creationId xmlns="" xmlns:a16="http://schemas.microsoft.com/office/drawing/2014/main" id="{B0170EBB-6727-4A4B-A07E-EB69E4DDBE9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86346" y="521817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4</a:t>
            </a:r>
          </a:p>
        </p:txBody>
      </p:sp>
      <p:sp>
        <p:nvSpPr>
          <p:cNvPr id="124" name="Tekstikehys 71">
            <a:extLst>
              <a:ext uri="{FF2B5EF4-FFF2-40B4-BE49-F238E27FC236}">
                <a16:creationId xmlns="" xmlns:a16="http://schemas.microsoft.com/office/drawing/2014/main" id="{C43B9869-AEEF-4C48-BB16-93035E20FC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06986" y="1493328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5</a:t>
            </a:r>
          </a:p>
        </p:txBody>
      </p:sp>
      <p:sp>
        <p:nvSpPr>
          <p:cNvPr id="125" name="Tekstikehys 71">
            <a:extLst>
              <a:ext uri="{FF2B5EF4-FFF2-40B4-BE49-F238E27FC236}">
                <a16:creationId xmlns="" xmlns:a16="http://schemas.microsoft.com/office/drawing/2014/main" id="{7069C67D-7434-4A76-951F-CA4E1C8DD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24755" y="2901573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6</a:t>
            </a:r>
          </a:p>
        </p:txBody>
      </p:sp>
      <p:sp>
        <p:nvSpPr>
          <p:cNvPr id="126" name="Tekstikehys 71">
            <a:extLst>
              <a:ext uri="{FF2B5EF4-FFF2-40B4-BE49-F238E27FC236}">
                <a16:creationId xmlns="" xmlns:a16="http://schemas.microsoft.com/office/drawing/2014/main" id="{8CAA775F-69BA-441C-A191-0DFCE8221B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278191" y="5374164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7</a:t>
            </a:r>
          </a:p>
        </p:txBody>
      </p:sp>
      <p:sp>
        <p:nvSpPr>
          <p:cNvPr id="127" name="Tekstikehys 71">
            <a:extLst>
              <a:ext uri="{FF2B5EF4-FFF2-40B4-BE49-F238E27FC236}">
                <a16:creationId xmlns="" xmlns:a16="http://schemas.microsoft.com/office/drawing/2014/main" id="{AEEE308D-A295-4507-851B-37D9C5CDAFC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9797" y="4023106"/>
            <a:ext cx="318284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>
                <a:solidFill>
                  <a:schemeClr val="tx1"/>
                </a:solidFill>
                <a:latin typeface="Consolas" panose="020B0609020204030204" pitchFamily="49" charset="0"/>
              </a:rPr>
              <a:t>18</a:t>
            </a:r>
          </a:p>
        </p:txBody>
      </p:sp>
      <p:sp>
        <p:nvSpPr>
          <p:cNvPr id="128" name="Tekstikehys 71">
            <a:extLst>
              <a:ext uri="{FF2B5EF4-FFF2-40B4-BE49-F238E27FC236}">
                <a16:creationId xmlns=""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4488" y="5929386"/>
            <a:ext cx="1163430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 smtClean="0">
                <a:solidFill>
                  <a:schemeClr val="tx1"/>
                </a:solidFill>
                <a:latin typeface="Consolas" panose="020B0609020204030204" pitchFamily="49" charset="0"/>
              </a:rPr>
              <a:t>Start Rigth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  <p:sp>
        <p:nvSpPr>
          <p:cNvPr id="130" name="Tekstikehys 71">
            <a:extLst>
              <a:ext uri="{FF2B5EF4-FFF2-40B4-BE49-F238E27FC236}">
                <a16:creationId xmlns="" xmlns:a16="http://schemas.microsoft.com/office/drawing/2014/main" id="{B91D0392-B780-45EF-A171-DF1E07A3E0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7134622"/>
            <a:ext cx="10266466" cy="5849426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2" anchor="t" anchorCtr="0">
            <a:spAutoFit/>
          </a:bodyPr>
          <a:lstStyle/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1.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2. STOP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3. STOP - DOWN - 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4. STOP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5. STOP – DOWN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6. RIGH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7. LEFT TUR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8.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09.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0.  LOO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1. LOO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2. 27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3. 27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4. 360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5. 360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6.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7. CALL FRONT- STOP - RIGH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8. CALL FRONT – STOP - LEFT TO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19.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0.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1. STOP - CALL FRONT – STOP - RIGH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2. STOP - CALL FRONT – STOP - LEFT TO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3. STOP - 1 STEP , STOP - 2 STEPS, STOP - 3 STEPS,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4. STOP - 9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5. STOP - 9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6. SLOW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7. RU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8. NORMAL PACE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29. SPIRAL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0. SPIRAL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1. SING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2. DOUBLE SLALOM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133. FIGURE 8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1. 2 x TURN AROUND DOG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2. STOP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3.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4. STOP – RUN FROM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5. STOP – TURN RIGH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6. STOP – TURN LEFT 1 STEP – CALL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7. STOP – 180 RIGH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8. STOP – 180 RIGH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09. STOP – 180 LEFT TURN -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0. STOP - 180 LEFT TURN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1. STOP – TURN RIGH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2. STOP – TURN LEFT 1 STEP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3. CALL FRONT STOP – 1 STEP BACK STOP – 2 STEPS BACK STOP – 3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214. SEND OVER JUM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1. STOP – STAND - SI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2. STOP – STAND -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3. STOP – STAND –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4. STOP – SIDE STEP RIGH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5. STOP – SIDE STEP LEF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6. TEMPTATIO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7. STOP – 1 STEP STAND – 2 STEPS STOP – 3 STEPS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8. CALL FRONT STOP – 1 STEP BACK STAND – 2 STEPS BACK STOP – 3 STEPS BACK DOW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09. SPIN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0. TURN TO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1. SIDE SHIFT BEHI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2. SIDE SHIFT BETWEEN LEG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3. BOTH ABOUT TURN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4. BOTH ABOUT TURN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5. STOP – SIDE SHIFT BEHIND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6. STOP – SIDE SHIFT IN FRONT -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7. MOVING STAND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8. MOVING DOWN - WALK AROU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19. MOVING DOWN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0. STOP – STAND –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1. RECAL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2. SEND OVER TWO JUM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323. TUNNEL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1. SIDE STEP RIGH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2. SIDE STEP LEF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3. TURN APAR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4. SIDE SHIFT IN FRONT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5. CIRCLE AROUND HANDLER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6. MOVING SIT - WALK FORWAR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7. STOP - SEND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8. CALL FRONT – STAND - BACK AWAY - STAND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09. BACKWARDS 3 STEPS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0. STOP – 1 STEP BACK STOP – 2 STEPS BACK STOP</a:t>
            </a:r>
          </a:p>
          <a:p>
            <a:pPr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en-US" sz="900" b="1" dirty="0">
                <a:latin typeface="Consolas" panose="020B0609020204030204" pitchFamily="49" charset="0"/>
              </a:rPr>
              <a:t>411. STOP – RECALL OVER JUMP</a:t>
            </a:r>
          </a:p>
        </p:txBody>
      </p:sp>
      <p:pic>
        <p:nvPicPr>
          <p:cNvPr id="219" name="Picture 218" descr="Logo&#10;&#10;Description automatically generated">
            <a:extLst>
              <a:ext uri="{FF2B5EF4-FFF2-40B4-BE49-F238E27FC236}">
                <a16:creationId xmlns="" xmlns:a16="http://schemas.microsoft.com/office/drawing/2014/main" id="{C000A54A-17D0-4255-94FB-6E6E87F23F3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0" name="Picture 219" descr="A picture containing text, monitor, screenshot&#10;&#10;Description automatically generated">
            <a:extLst>
              <a:ext uri="{FF2B5EF4-FFF2-40B4-BE49-F238E27FC236}">
                <a16:creationId xmlns="" xmlns:a16="http://schemas.microsoft.com/office/drawing/2014/main" id="{BFEAAE93-0679-47CE-A487-489271E82D2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1" name="Picture 220" descr="A picture containing text, monitor, screenshot&#10;&#10;Description automatically generated">
            <a:extLst>
              <a:ext uri="{FF2B5EF4-FFF2-40B4-BE49-F238E27FC236}">
                <a16:creationId xmlns="" xmlns:a16="http://schemas.microsoft.com/office/drawing/2014/main" id="{111BDD09-B6BF-4DDE-B475-F0D6A4B23A1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Picture 221" descr="A picture containing graphical user interface&#10;&#10;Description automatically generated">
            <a:extLst>
              <a:ext uri="{FF2B5EF4-FFF2-40B4-BE49-F238E27FC236}">
                <a16:creationId xmlns="" xmlns:a16="http://schemas.microsoft.com/office/drawing/2014/main" id="{B8E4A595-AB44-4B6E-920A-FDC06E8880A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3" name="Picture 222" descr="A picture containing text, screenshot&#10;&#10;Description automatically generated">
            <a:extLst>
              <a:ext uri="{FF2B5EF4-FFF2-40B4-BE49-F238E27FC236}">
                <a16:creationId xmlns="" xmlns:a16="http://schemas.microsoft.com/office/drawing/2014/main" id="{6D5121C2-F228-43AB-801C-2EED1421EE1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-641109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4" name="Picture 223" descr="Logo, company name&#10;&#10;Description automatically generated">
            <a:extLst>
              <a:ext uri="{FF2B5EF4-FFF2-40B4-BE49-F238E27FC236}">
                <a16:creationId xmlns="" xmlns:a16="http://schemas.microsoft.com/office/drawing/2014/main" id="{8F257058-6352-4A1D-9F50-76F18462D41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2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5" name="Picture 224" descr="Logo, company name&#10;&#10;Description automatically generated">
            <a:extLst>
              <a:ext uri="{FF2B5EF4-FFF2-40B4-BE49-F238E27FC236}">
                <a16:creationId xmlns="" xmlns:a16="http://schemas.microsoft.com/office/drawing/2014/main" id="{4E215FF3-C8B2-4748-AF8F-70505EFF79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6" name="Picture 225" descr="Icon&#10;&#10;Description automatically generated">
            <a:extLst>
              <a:ext uri="{FF2B5EF4-FFF2-40B4-BE49-F238E27FC236}">
                <a16:creationId xmlns="" xmlns:a16="http://schemas.microsoft.com/office/drawing/2014/main" id="{95CEBDE5-FB56-4DE5-B72E-B2FE01314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7" name="Picture 226" descr="Icon&#10;&#10;Description automatically generated">
            <a:extLst>
              <a:ext uri="{FF2B5EF4-FFF2-40B4-BE49-F238E27FC236}">
                <a16:creationId xmlns="" xmlns:a16="http://schemas.microsoft.com/office/drawing/2014/main" id="{B0DBEEEC-91C1-40CE-ADAB-782E0FDB5880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Picture 227" descr="A picture containing text&#10;&#10;Description automatically generated">
            <a:extLst>
              <a:ext uri="{FF2B5EF4-FFF2-40B4-BE49-F238E27FC236}">
                <a16:creationId xmlns="" xmlns:a16="http://schemas.microsoft.com/office/drawing/2014/main" id="{C797C1BD-45DE-406F-A0B3-29984D2CA78D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-13673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9" name="Picture 228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45DE4D79-91F5-4686-BC0D-374CEB645FCF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845684" y="4340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0" name="Picture 229" descr="A picture containing diagram&#10;&#10;Description automatically generated">
            <a:extLst>
              <a:ext uri="{FF2B5EF4-FFF2-40B4-BE49-F238E27FC236}">
                <a16:creationId xmlns="" xmlns:a16="http://schemas.microsoft.com/office/drawing/2014/main" id="{BD227FF8-F0A5-408D-83B9-654B2761D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1" name="Picture 230" descr="A picture containing diagram&#10;&#10;Description automatically generated">
            <a:extLst>
              <a:ext uri="{FF2B5EF4-FFF2-40B4-BE49-F238E27FC236}">
                <a16:creationId xmlns="" xmlns:a16="http://schemas.microsoft.com/office/drawing/2014/main" id="{4B8C27BF-6CBE-446D-99E1-51E0EDE16937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2" name="Picture 231" descr="Icon&#10;&#10;Description automatically generated with low confidence">
            <a:extLst>
              <a:ext uri="{FF2B5EF4-FFF2-40B4-BE49-F238E27FC236}">
                <a16:creationId xmlns="" xmlns:a16="http://schemas.microsoft.com/office/drawing/2014/main" id="{85913B01-7F37-40CC-823C-4CB0A549D3B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3" name="Picture 232" descr="A picture containing diagram&#10;&#10;Description automatically generated">
            <a:extLst>
              <a:ext uri="{FF2B5EF4-FFF2-40B4-BE49-F238E27FC236}">
                <a16:creationId xmlns="" xmlns:a16="http://schemas.microsoft.com/office/drawing/2014/main" id="{403DB15D-D5A0-45AF-8212-1D356CF0C9EF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4" name="Picture 233" descr="A picture containing graphical user interface&#10;&#10;Description automatically generated">
            <a:extLst>
              <a:ext uri="{FF2B5EF4-FFF2-40B4-BE49-F238E27FC236}">
                <a16:creationId xmlns="" xmlns:a16="http://schemas.microsoft.com/office/drawing/2014/main" id="{3A0F7252-AAC7-4FF1-A9DC-56AC6410A818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Picture 234" descr="A picture containing text, monitor, screenshot&#10;&#10;Description automatically generated">
            <a:extLst>
              <a:ext uri="{FF2B5EF4-FFF2-40B4-BE49-F238E27FC236}">
                <a16:creationId xmlns="" xmlns:a16="http://schemas.microsoft.com/office/drawing/2014/main" id="{301518CD-77F3-49DE-8A3C-0A95ED374DE3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36732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Picture 235" descr="A picture containing text, monitor, screen, screenshot&#10;&#10;Description automatically generated">
            <a:extLst>
              <a:ext uri="{FF2B5EF4-FFF2-40B4-BE49-F238E27FC236}">
                <a16:creationId xmlns="" xmlns:a16="http://schemas.microsoft.com/office/drawing/2014/main" id="{D43B686F-4625-4AF8-BBF4-A8017A7703A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5540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7" name="Picture 236" descr="A picture containing diagram&#10;&#10;Description automatically generated">
            <a:extLst>
              <a:ext uri="{FF2B5EF4-FFF2-40B4-BE49-F238E27FC236}">
                <a16:creationId xmlns="" xmlns:a16="http://schemas.microsoft.com/office/drawing/2014/main" id="{798064AE-CF19-4CA4-8F77-7ADE704DCB59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17711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8" name="Picture 237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228DC22B-6222-4501-B89A-46D7F021871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49787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9" name="Picture 238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B5959DE7-A74F-4A79-8D71-7D6BA0177177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4224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0" name="Picture 239" descr="Chart&#10;&#10;Description automatically generated with medium confidence">
            <a:extLst>
              <a:ext uri="{FF2B5EF4-FFF2-40B4-BE49-F238E27FC236}">
                <a16:creationId xmlns="" xmlns:a16="http://schemas.microsoft.com/office/drawing/2014/main" id="{277F1AEA-25BD-4F92-890A-4F786C561C0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78160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1" name="Picture 240" descr="A picture containing chart&#10;&#10;Description automatically generated">
            <a:extLst>
              <a:ext uri="{FF2B5EF4-FFF2-40B4-BE49-F238E27FC236}">
                <a16:creationId xmlns="" xmlns:a16="http://schemas.microsoft.com/office/drawing/2014/main" id="{E6BAAE23-8596-43BE-BA7D-4C3D3D0EB044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29316" y="87137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2" name="Picture 241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A2A0E6C1-802D-4265-8588-C45BDBF8640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3" name="Picture 242" descr="Logo&#10;&#10;Description automatically generated">
            <a:extLst>
              <a:ext uri="{FF2B5EF4-FFF2-40B4-BE49-F238E27FC236}">
                <a16:creationId xmlns="" xmlns:a16="http://schemas.microsoft.com/office/drawing/2014/main" id="{41F925B9-74D4-4E39-BAA8-3BE69DBFF976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4" name="Picture 243" descr="Text&#10;&#10;Description automatically generated">
            <a:extLst>
              <a:ext uri="{FF2B5EF4-FFF2-40B4-BE49-F238E27FC236}">
                <a16:creationId xmlns="" xmlns:a16="http://schemas.microsoft.com/office/drawing/2014/main" id="{076E998C-53EF-40F9-BB72-F740F4F75CA9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54041" y="585188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5" name="Picture 244" descr="Text&#10;&#10;Description automatically generated">
            <a:extLst>
              <a:ext uri="{FF2B5EF4-FFF2-40B4-BE49-F238E27FC236}">
                <a16:creationId xmlns="" xmlns:a16="http://schemas.microsoft.com/office/drawing/2014/main" id="{9CB64FD0-3F6F-4443-8D0D-C1B568E5BC18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488603" y="77495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6" name="Picture 245" descr="Text&#10;&#10;Description automatically generated with low confidence">
            <a:extLst>
              <a:ext uri="{FF2B5EF4-FFF2-40B4-BE49-F238E27FC236}">
                <a16:creationId xmlns="" xmlns:a16="http://schemas.microsoft.com/office/drawing/2014/main" id="{ACD674E3-08C9-4D57-87DE-86C783BAA5A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7" name="Picture 246" descr="A picture containing text, screenshot&#10;&#10;Description automatically generated">
            <a:extLst>
              <a:ext uri="{FF2B5EF4-FFF2-40B4-BE49-F238E27FC236}">
                <a16:creationId xmlns="" xmlns:a16="http://schemas.microsoft.com/office/drawing/2014/main" id="{513B310B-F371-4370-81DB-8D1D695255F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166547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8" name="Picture 247" descr="A picture containing graphical user interface&#10;&#10;Description automatically generated">
            <a:extLst>
              <a:ext uri="{FF2B5EF4-FFF2-40B4-BE49-F238E27FC236}">
                <a16:creationId xmlns="" xmlns:a16="http://schemas.microsoft.com/office/drawing/2014/main" id="{977F66EC-8F89-4044-A573-0B905F3D3D3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9" name="Picture 248" descr="A picture containing text, sign, screenshot&#10;&#10;Description automatically generated">
            <a:extLst>
              <a:ext uri="{FF2B5EF4-FFF2-40B4-BE49-F238E27FC236}">
                <a16:creationId xmlns="" xmlns:a16="http://schemas.microsoft.com/office/drawing/2014/main" id="{349C0512-48B4-401A-AD53-2DC7D8ABD69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0" name="Picture 249" descr="A picture containing text, screenshot, sign&#10;&#10;Description automatically generated">
            <a:extLst>
              <a:ext uri="{FF2B5EF4-FFF2-40B4-BE49-F238E27FC236}">
                <a16:creationId xmlns="" xmlns:a16="http://schemas.microsoft.com/office/drawing/2014/main" id="{C0F314E4-6374-420E-9219-C28B64613E6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1" name="Picture 250" descr="A picture containing text, screenshot, sign&#10;&#10;Description automatically generated">
            <a:extLst>
              <a:ext uri="{FF2B5EF4-FFF2-40B4-BE49-F238E27FC236}">
                <a16:creationId xmlns="" xmlns:a16="http://schemas.microsoft.com/office/drawing/2014/main" id="{517C199E-2166-43B1-BA29-9AF81B8C9757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2" name="Picture 251" descr="Logo&#10;&#10;Description automatically generated">
            <a:extLst>
              <a:ext uri="{FF2B5EF4-FFF2-40B4-BE49-F238E27FC236}">
                <a16:creationId xmlns="" xmlns:a16="http://schemas.microsoft.com/office/drawing/2014/main" id="{ABFA0D93-AC3A-46F1-8280-AA722449CD86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3" name="Picture 252" descr="Logo, company name&#10;&#10;Description automatically generated">
            <a:extLst>
              <a:ext uri="{FF2B5EF4-FFF2-40B4-BE49-F238E27FC236}">
                <a16:creationId xmlns="" xmlns:a16="http://schemas.microsoft.com/office/drawing/2014/main" id="{8B3CE2B0-CC74-4386-9E77-07559924492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1319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4" name="Picture 253" descr="Diagram&#10;&#10;Description automatically generated with medium confidence">
            <a:extLst>
              <a:ext uri="{FF2B5EF4-FFF2-40B4-BE49-F238E27FC236}">
                <a16:creationId xmlns="" xmlns:a16="http://schemas.microsoft.com/office/drawing/2014/main" id="{3E3CE2D7-1954-4EE2-9073-32F487E7277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50804" y="45251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5" name="Picture 254" descr="A picture containing graphical user interface&#10;&#10;Description automatically generated">
            <a:extLst>
              <a:ext uri="{FF2B5EF4-FFF2-40B4-BE49-F238E27FC236}">
                <a16:creationId xmlns="" xmlns:a16="http://schemas.microsoft.com/office/drawing/2014/main" id="{44B989B9-F840-40DD-8D80-E75968F1BE4E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6" name="Picture 255" descr="Logo, company name&#10;&#10;Description automatically generated">
            <a:extLst>
              <a:ext uri="{FF2B5EF4-FFF2-40B4-BE49-F238E27FC236}">
                <a16:creationId xmlns="" xmlns:a16="http://schemas.microsoft.com/office/drawing/2014/main" id="{B4ED0BA7-A9C8-4B3D-8502-3BB1F510B55B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7" name="Picture 256" descr="Logo, company name&#10;&#10;Description automatically generated">
            <a:extLst>
              <a:ext uri="{FF2B5EF4-FFF2-40B4-BE49-F238E27FC236}">
                <a16:creationId xmlns="" xmlns:a16="http://schemas.microsoft.com/office/drawing/2014/main" id="{65582CD8-CC44-42AB-B3D8-973E4CA3A6D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8" name="Picture 257" descr="Logo&#10;&#10;Description automatically generated with low confidence">
            <a:extLst>
              <a:ext uri="{FF2B5EF4-FFF2-40B4-BE49-F238E27FC236}">
                <a16:creationId xmlns="" xmlns:a16="http://schemas.microsoft.com/office/drawing/2014/main" id="{9721B744-86B8-4C46-A00A-54ABCA91EEED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59" name="Picture 258" descr="Logo, company name&#10;&#10;Description automatically generated">
            <a:extLst>
              <a:ext uri="{FF2B5EF4-FFF2-40B4-BE49-F238E27FC236}">
                <a16:creationId xmlns="" xmlns:a16="http://schemas.microsoft.com/office/drawing/2014/main" id="{FD34B295-A605-4DD5-BB66-465D055EEC9E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2873" y="25640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0" name="Picture 259" descr="Graphical user interface&#10;&#10;Description automatically generated">
            <a:extLst>
              <a:ext uri="{FF2B5EF4-FFF2-40B4-BE49-F238E27FC236}">
                <a16:creationId xmlns="" xmlns:a16="http://schemas.microsoft.com/office/drawing/2014/main" id="{05273061-F7D1-48A9-AEB0-82F49642C26E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076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1" name="Picture 260" descr="Graphical user interface&#10;&#10;Description automatically generated with low confidence">
            <a:extLst>
              <a:ext uri="{FF2B5EF4-FFF2-40B4-BE49-F238E27FC236}">
                <a16:creationId xmlns="" xmlns:a16="http://schemas.microsoft.com/office/drawing/2014/main" id="{B6B8AF58-D9B4-4838-B271-FD8C5D27A9A4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94551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2" name="Picture 261" descr="Text&#10;&#10;Description automatically generated">
            <a:extLst>
              <a:ext uri="{FF2B5EF4-FFF2-40B4-BE49-F238E27FC236}">
                <a16:creationId xmlns="" xmlns:a16="http://schemas.microsoft.com/office/drawing/2014/main" id="{C1ECBA85-D31B-4739-8BDE-1D91B17C2E61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18487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3" name="Picture 262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AABE638E-1A2A-4E07-B76F-03E43F782292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7510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4" name="Picture 263" descr="Shape, polygon&#10;&#10;Description automatically generated">
            <a:extLst>
              <a:ext uri="{FF2B5EF4-FFF2-40B4-BE49-F238E27FC236}">
                <a16:creationId xmlns="" xmlns:a16="http://schemas.microsoft.com/office/drawing/2014/main" id="{075181B7-126D-4967-9B68-75A46BEB181D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36120" y="306805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5" name="Picture 264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50698D6B-975B-4EEE-94B5-CC87181815A9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6" name="Picture 265" descr="Logo&#10;&#10;Description automatically generated">
            <a:extLst>
              <a:ext uri="{FF2B5EF4-FFF2-40B4-BE49-F238E27FC236}">
                <a16:creationId xmlns="" xmlns:a16="http://schemas.microsoft.com/office/drawing/2014/main" id="{C4DED1C1-9ADB-4FDE-B9B6-6378C0CB56A4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19477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7" name="Picture 266" descr="Shape&#10;&#10;Description automatically generated">
            <a:extLst>
              <a:ext uri="{FF2B5EF4-FFF2-40B4-BE49-F238E27FC236}">
                <a16:creationId xmlns="" xmlns:a16="http://schemas.microsoft.com/office/drawing/2014/main" id="{8025E844-FF86-4FF9-A129-BA5991470FB0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8" name="Picture 267" descr="Shape, arrow&#10;&#10;Description automatically generated">
            <a:extLst>
              <a:ext uri="{FF2B5EF4-FFF2-40B4-BE49-F238E27FC236}">
                <a16:creationId xmlns="" xmlns:a16="http://schemas.microsoft.com/office/drawing/2014/main" id="{99842462-0A38-48AB-983E-F7306E37C649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3885947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9" name="Picture 268" descr="Diagram&#10;&#10;Description automatically generated">
            <a:extLst>
              <a:ext uri="{FF2B5EF4-FFF2-40B4-BE49-F238E27FC236}">
                <a16:creationId xmlns="" xmlns:a16="http://schemas.microsoft.com/office/drawing/2014/main" id="{83A8C1EB-BCB4-4DF2-AD69-E7807CBC1518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0" name="Picture 269" descr="Diagram, shape&#10;&#10;Description automatically generated">
            <a:extLst>
              <a:ext uri="{FF2B5EF4-FFF2-40B4-BE49-F238E27FC236}">
                <a16:creationId xmlns="" xmlns:a16="http://schemas.microsoft.com/office/drawing/2014/main" id="{FE01D470-6C59-48F6-BBE3-EC3848860146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1" name="Picture 270" descr="A picture containing text&#10;&#10;Description automatically generated">
            <a:extLst>
              <a:ext uri="{FF2B5EF4-FFF2-40B4-BE49-F238E27FC236}">
                <a16:creationId xmlns="" xmlns:a16="http://schemas.microsoft.com/office/drawing/2014/main" id="{4B186925-DD29-4BBD-8AD3-49FCAD8992D4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567066" y="380130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2" name="Picture 271" descr="Text&#10;&#10;Description automatically generated">
            <a:extLst>
              <a:ext uri="{FF2B5EF4-FFF2-40B4-BE49-F238E27FC236}">
                <a16:creationId xmlns="" xmlns:a16="http://schemas.microsoft.com/office/drawing/2014/main" id="{05568295-0C9E-47B2-AADC-DA09398075B0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438" y="208696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3" name="Picture 272" descr="Company name&#10;&#10;Description automatically generated with low confidence">
            <a:extLst>
              <a:ext uri="{FF2B5EF4-FFF2-40B4-BE49-F238E27FC236}">
                <a16:creationId xmlns="" xmlns:a16="http://schemas.microsoft.com/office/drawing/2014/main" id="{5232C816-9B30-4D48-81AD-2CE92A6F28CC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4" name="Picture 273" descr="Logo, company name&#10;&#10;Description automatically generated">
            <a:extLst>
              <a:ext uri="{FF2B5EF4-FFF2-40B4-BE49-F238E27FC236}">
                <a16:creationId xmlns="" xmlns:a16="http://schemas.microsoft.com/office/drawing/2014/main" id="{2913146C-19B1-4D5C-BE2A-0346D1CFFF9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29432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Picture 274" descr="A picture containing diagram&#10;&#10;Description automatically generated">
            <a:extLst>
              <a:ext uri="{FF2B5EF4-FFF2-40B4-BE49-F238E27FC236}">
                <a16:creationId xmlns="" xmlns:a16="http://schemas.microsoft.com/office/drawing/2014/main" id="{83C3CAE3-C239-4E56-B17D-68FF5BEA2EA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783997" y="92216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6" name="Picture 275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E5D56291-5FC7-445E-BDA2-4C52B5C3B902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8" name="Picture 277" descr="A picture containing text&#10;&#10;Description automatically generated">
            <a:extLst>
              <a:ext uri="{FF2B5EF4-FFF2-40B4-BE49-F238E27FC236}">
                <a16:creationId xmlns="" xmlns:a16="http://schemas.microsoft.com/office/drawing/2014/main" id="{90FCB519-2DFE-4C23-AEC1-11EC14DF0E58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968939" y="173445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9" name="Picture 278" descr="Logo, company name&#10;&#10;Description automatically generated">
            <a:extLst>
              <a:ext uri="{FF2B5EF4-FFF2-40B4-BE49-F238E27FC236}">
                <a16:creationId xmlns="" xmlns:a16="http://schemas.microsoft.com/office/drawing/2014/main" id="{A9680FEE-A5EE-4123-B5A5-3990F7654C4A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8128081" y="567554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Picture 279" descr="Logo, company name&#10;&#10;Description automatically generated">
            <a:extLst>
              <a:ext uri="{FF2B5EF4-FFF2-40B4-BE49-F238E27FC236}">
                <a16:creationId xmlns="" xmlns:a16="http://schemas.microsoft.com/office/drawing/2014/main" id="{4DE5DA81-F230-4FB0-8A12-4F141CF98EAE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96891" y="477373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1" name="Picture 280" descr="Text&#10;&#10;Description automatically generated with medium confidence">
            <a:extLst>
              <a:ext uri="{FF2B5EF4-FFF2-40B4-BE49-F238E27FC236}">
                <a16:creationId xmlns="" xmlns:a16="http://schemas.microsoft.com/office/drawing/2014/main" id="{6E50BC63-CE4F-466C-BD24-77D2DBA99AA3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31299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Picture 281" descr="Diagram&#10;&#10;Description automatically generated">
            <a:extLst>
              <a:ext uri="{FF2B5EF4-FFF2-40B4-BE49-F238E27FC236}">
                <a16:creationId xmlns="" xmlns:a16="http://schemas.microsoft.com/office/drawing/2014/main" id="{0B5D77D6-31E3-41B3-A9F2-52D2433AD5E4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1556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Picture 282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B017EBA6-11E7-46FC-8CBD-C0F5108C9C94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562758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Picture 283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B8B3EEC5-E641-472E-B4F7-38FE41790494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20362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Picture 284" descr="A picture containing company name&#10;&#10;Description automatically generated">
            <a:extLst>
              <a:ext uri="{FF2B5EF4-FFF2-40B4-BE49-F238E27FC236}">
                <a16:creationId xmlns="" xmlns:a16="http://schemas.microsoft.com/office/drawing/2014/main" id="{5965CC01-EF4F-49C0-BDEF-6819AD650A94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93180" y="52777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Picture 285" descr="Logo, company name&#10;&#10;Description automatically generated">
            <a:extLst>
              <a:ext uri="{FF2B5EF4-FFF2-40B4-BE49-F238E27FC236}">
                <a16:creationId xmlns="" xmlns:a16="http://schemas.microsoft.com/office/drawing/2014/main" id="{A7CD34A3-833E-4742-BDB4-3D24B6C68792}"/>
              </a:ext>
            </a:extLst>
          </p:cNvPr>
          <p:cNvPicPr>
            <a:picLocks noChangeAspect="1"/>
          </p:cNvPicPr>
          <p:nvPr/>
        </p:nvPicPr>
        <p:blipFill>
          <a:blip r:embed="rId7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Picture 286" descr="Logo, company name&#10;&#10;Description automatically generated">
            <a:extLst>
              <a:ext uri="{FF2B5EF4-FFF2-40B4-BE49-F238E27FC236}">
                <a16:creationId xmlns="" xmlns:a16="http://schemas.microsoft.com/office/drawing/2014/main" id="{73F2A485-212D-4AE6-869D-CF9EEC3357D8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Picture 287" descr="Graphical user interface, application&#10;&#10;Description automatically generated">
            <a:extLst>
              <a:ext uri="{FF2B5EF4-FFF2-40B4-BE49-F238E27FC236}">
                <a16:creationId xmlns="" xmlns:a16="http://schemas.microsoft.com/office/drawing/2014/main" id="{02B44004-FD77-4283-83A0-91F50B5C68F5}"/>
              </a:ext>
            </a:extLst>
          </p:cNvPr>
          <p:cNvPicPr>
            <a:picLocks noChangeAspect="1"/>
          </p:cNvPicPr>
          <p:nvPr/>
        </p:nvPicPr>
        <p:blipFill>
          <a:blip r:embed="rId7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330" y="361546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Picture 288" descr="Graphical user interface, application, shape&#10;&#10;Description automatically generated">
            <a:extLst>
              <a:ext uri="{FF2B5EF4-FFF2-40B4-BE49-F238E27FC236}">
                <a16:creationId xmlns="" xmlns:a16="http://schemas.microsoft.com/office/drawing/2014/main" id="{252779D5-3A00-46D6-874C-66FB8E8A3609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627998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Picture 289" descr="Graphical user interface, diagram&#10;&#10;Description automatically generated">
            <a:extLst>
              <a:ext uri="{FF2B5EF4-FFF2-40B4-BE49-F238E27FC236}">
                <a16:creationId xmlns="" xmlns:a16="http://schemas.microsoft.com/office/drawing/2014/main" id="{8B387E91-7C1D-4BF1-9B39-FB7130BB1443}"/>
              </a:ext>
            </a:extLst>
          </p:cNvPr>
          <p:cNvPicPr>
            <a:picLocks noChangeAspect="1"/>
          </p:cNvPicPr>
          <p:nvPr/>
        </p:nvPicPr>
        <p:blipFill>
          <a:blip r:embed="rId8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Picture 290" descr="Graphical user interface, diagram&#10;&#10;Description automatically generated">
            <a:extLst>
              <a:ext uri="{FF2B5EF4-FFF2-40B4-BE49-F238E27FC236}">
                <a16:creationId xmlns="" xmlns:a16="http://schemas.microsoft.com/office/drawing/2014/main" id="{D5DDF782-760A-4C61-B897-E9245F7C756F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9264" y="4038454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4" name="Picture 293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07D4974C-D8B3-463C-BE28-FFCD9F9DBC1C}"/>
              </a:ext>
            </a:extLst>
          </p:cNvPr>
          <p:cNvPicPr>
            <a:picLocks noChangeAspect="1"/>
          </p:cNvPicPr>
          <p:nvPr/>
        </p:nvPicPr>
        <p:blipFill>
          <a:blip r:embed="rId8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675562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5" name="Picture 294" descr="Logo&#10;&#10;Description automatically generated with low confidence">
            <a:extLst>
              <a:ext uri="{FF2B5EF4-FFF2-40B4-BE49-F238E27FC236}">
                <a16:creationId xmlns="" xmlns:a16="http://schemas.microsoft.com/office/drawing/2014/main" id="{0CF92CFE-3352-4A92-9804-E3D878559E95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922" y="3896976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6" name="Picture 295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6E6AADC9-CACC-4318-8E08-10F8F40AB58C}"/>
              </a:ext>
            </a:extLst>
          </p:cNvPr>
          <p:cNvPicPr>
            <a:picLocks noChangeAspect="1"/>
          </p:cNvPicPr>
          <p:nvPr/>
        </p:nvPicPr>
        <p:blipFill>
          <a:blip r:embed="rId8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3210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7" name="Picture 296" descr="Shape&#10;&#10;Description automatically generated">
            <a:extLst>
              <a:ext uri="{FF2B5EF4-FFF2-40B4-BE49-F238E27FC236}">
                <a16:creationId xmlns="" xmlns:a16="http://schemas.microsoft.com/office/drawing/2014/main" id="{C5A19266-A30B-450D-A7E4-9DAB7E6B93CE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201620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8" name="Picture 297" descr="Diagram&#10;&#10;Description automatically generated">
            <a:extLst>
              <a:ext uri="{FF2B5EF4-FFF2-40B4-BE49-F238E27FC236}">
                <a16:creationId xmlns="" xmlns:a16="http://schemas.microsoft.com/office/drawing/2014/main" id="{08CEAA20-3749-4602-9EB7-25926326C20C}"/>
              </a:ext>
            </a:extLst>
          </p:cNvPr>
          <p:cNvPicPr>
            <a:picLocks noChangeAspect="1"/>
          </p:cNvPicPr>
          <p:nvPr/>
        </p:nvPicPr>
        <p:blipFill>
          <a:blip r:embed="rId8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7959330" y="3168992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9" name="Picture 298" descr="Diagram&#10;&#10;Description automatically generated">
            <a:extLst>
              <a:ext uri="{FF2B5EF4-FFF2-40B4-BE49-F238E27FC236}">
                <a16:creationId xmlns="" xmlns:a16="http://schemas.microsoft.com/office/drawing/2014/main" id="{B6990C98-8748-457C-B43C-07DB419A8C8B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88625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0" name="Picture 299" descr="Text&#10;&#10;Description automatically generated">
            <a:extLst>
              <a:ext uri="{FF2B5EF4-FFF2-40B4-BE49-F238E27FC236}">
                <a16:creationId xmlns="" xmlns:a16="http://schemas.microsoft.com/office/drawing/2014/main" id="{33FA46D2-FC89-467D-A70A-3A206584D519}"/>
              </a:ext>
            </a:extLst>
          </p:cNvPr>
          <p:cNvPicPr>
            <a:picLocks noChangeAspect="1"/>
          </p:cNvPicPr>
          <p:nvPr/>
        </p:nvPicPr>
        <p:blipFill>
          <a:blip r:embed="rId8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1" name="Picture 300" descr="Text&#10;&#10;Description automatically generated with medium confidence">
            <a:extLst>
              <a:ext uri="{FF2B5EF4-FFF2-40B4-BE49-F238E27FC236}">
                <a16:creationId xmlns="" xmlns:a16="http://schemas.microsoft.com/office/drawing/2014/main" id="{5C6AC4F3-3672-42F0-BE32-947B3A43DCFE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2339" y="721974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2" name="Picture 301" descr="Logo, company name&#10;&#10;Description automatically generated">
            <a:extLst>
              <a:ext uri="{FF2B5EF4-FFF2-40B4-BE49-F238E27FC236}">
                <a16:creationId xmlns="" xmlns:a16="http://schemas.microsoft.com/office/drawing/2014/main" id="{1CBB18D9-4C41-497C-B2B0-2C67DAEFBB4B}"/>
              </a:ext>
            </a:extLst>
          </p:cNvPr>
          <p:cNvPicPr>
            <a:picLocks noChangeAspect="1"/>
          </p:cNvPicPr>
          <p:nvPr/>
        </p:nvPicPr>
        <p:blipFill>
          <a:blip r:embed="rId9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7096" y="470400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3" name="Picture 302" descr="Diagram, text&#10;&#10;Description automatically generated">
            <a:extLst>
              <a:ext uri="{FF2B5EF4-FFF2-40B4-BE49-F238E27FC236}">
                <a16:creationId xmlns="" xmlns:a16="http://schemas.microsoft.com/office/drawing/2014/main" id="{16E97138-E52E-40C3-A946-A2E7A475B0B4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559471" y="1994168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4" name="Picture 303" descr="A picture containing logo&#10;&#10;Description automatically generated">
            <a:extLst>
              <a:ext uri="{FF2B5EF4-FFF2-40B4-BE49-F238E27FC236}">
                <a16:creationId xmlns="" xmlns:a16="http://schemas.microsoft.com/office/drawing/2014/main" id="{66410357-2F25-402D-BBCA-B83843DF2D18}"/>
              </a:ext>
            </a:extLst>
          </p:cNvPr>
          <p:cNvPicPr>
            <a:picLocks noChangeAspect="1"/>
          </p:cNvPicPr>
          <p:nvPr/>
        </p:nvPicPr>
        <p:blipFill>
          <a:blip r:embed="rId9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3484988" y="518025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5" name="Picture 304" descr="Icon&#10;&#10;Description automatically generated with low confidence">
            <a:extLst>
              <a:ext uri="{FF2B5EF4-FFF2-40B4-BE49-F238E27FC236}">
                <a16:creationId xmlns="" xmlns:a16="http://schemas.microsoft.com/office/drawing/2014/main" id="{8D8F58CE-7ACD-465A-BE94-48B36DA6D2FB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64" y="878331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6" name="Picture 305" descr="A picture containing icon&#10;&#10;Description automatically generated">
            <a:extLst>
              <a:ext uri="{FF2B5EF4-FFF2-40B4-BE49-F238E27FC236}">
                <a16:creationId xmlns="" xmlns:a16="http://schemas.microsoft.com/office/drawing/2014/main" id="{08ACF424-ACE1-4A54-A3DF-E3BB5A0ADFAE}"/>
              </a:ext>
            </a:extLst>
          </p:cNvPr>
          <p:cNvPicPr>
            <a:picLocks noChangeAspect="1"/>
          </p:cNvPicPr>
          <p:nvPr/>
        </p:nvPicPr>
        <p:blipFill>
          <a:blip r:embed="rId9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2616" y="7717263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1" name="Bilde 2">
            <a:extLst>
              <a:ext uri="{FF2B5EF4-FFF2-40B4-BE49-F238E27FC236}">
                <a16:creationId xmlns="" xmlns:a16="http://schemas.microsoft.com/office/drawing/2014/main" id="{9F69A990-74A3-438C-B448-7137ABDB09A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206" y="5431483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2" name="Bilde 85">
            <a:extLst>
              <a:ext uri="{FF2B5EF4-FFF2-40B4-BE49-F238E27FC236}">
                <a16:creationId xmlns="" xmlns:a16="http://schemas.microsoft.com/office/drawing/2014/main" id="{E232BCAE-CFAD-4A1D-8317-6A0C07D7347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6" y="2316861"/>
            <a:ext cx="375699" cy="374741"/>
          </a:xfrm>
          <a:prstGeom prst="rect">
            <a:avLst/>
          </a:prstGeom>
        </p:spPr>
      </p:pic>
      <p:pic>
        <p:nvPicPr>
          <p:cNvPr id="135" name="Picture 231" descr="Text&#10;&#10;Description automatically generated with medium confidence">
            <a:extLst>
              <a:ext uri="{FF2B5EF4-FFF2-40B4-BE49-F238E27FC236}">
                <a16:creationId xmlns="" xmlns:a16="http://schemas.microsoft.com/office/drawing/2014/main" id="{829064EF-D4A4-4CB0-AC86-6D3825AE8A34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939168" y="5621255"/>
            <a:ext cx="540000" cy="406517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6" name="Bilde 166">
            <a:extLst>
              <a:ext uri="{FF2B5EF4-FFF2-40B4-BE49-F238E27FC236}">
                <a16:creationId xmlns="" xmlns:a16="http://schemas.microsoft.com/office/drawing/2014/main" id="{FFD2D56A-66B0-487E-A5B0-125E8BDC148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799" y="982865"/>
            <a:ext cx="600000" cy="450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7" name="Tekstikehys 71">
            <a:extLst>
              <a:ext uri="{FF2B5EF4-FFF2-40B4-BE49-F238E27FC236}">
                <a16:creationId xmlns="" xmlns:a16="http://schemas.microsoft.com/office/drawing/2014/main" id="{CE9989E2-D8CA-415A-B7CB-19880FAE77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5954" y="399537"/>
            <a:ext cx="1163430" cy="221151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ctr" anchorCtr="1">
            <a:spAutoFit/>
          </a:bodyPr>
          <a:lstStyle/>
          <a:p>
            <a:pPr algn="ctr" eaLnBrk="1">
              <a:lnSpc>
                <a:spcPct val="93000"/>
              </a:lnSpc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fi-FI" altLang="en-US" sz="900" b="1" dirty="0" smtClean="0">
                <a:solidFill>
                  <a:schemeClr val="tx1"/>
                </a:solidFill>
                <a:latin typeface="Consolas" panose="020B0609020204030204" pitchFamily="49" charset="0"/>
              </a:rPr>
              <a:t>Exit </a:t>
            </a:r>
            <a:endParaRPr lang="fi-FI" altLang="en-US" sz="900" b="1" dirty="0">
              <a:solidFill>
                <a:schemeClr val="tx1"/>
              </a:solidFill>
              <a:latin typeface="Consolas" panose="020B0609020204030204" pitchFamily="49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3989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ESiB5yQ42iAyYlDQt5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6z1OkFSNiYQsMnKji.a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i.2b2qTHCYDJ5sKb0A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AciPr2Qym9LMhzf0cC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nb1bmSou0MtFSvVyN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mVimAXTgS9d4BPKHQF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JILcyCTUWvIfN8V2w2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2gLk.QTT6LPp9vZWMB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6qTzliRQ.oim0HzEsmB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UGaf8STxCA2lMRu9J7Rg"/>
</p:tagLst>
</file>

<file path=ppt/theme/theme1.xml><?xml version="1.0" encoding="utf-8"?>
<a:theme xmlns:a="http://schemas.openxmlformats.org/drawingml/2006/main" name="STANDARD tom bane 2017  husk start med gem som">
  <a:themeElements>
    <a:clrScheme name="tom_bane-med_skilte09små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tom_bane-med_skilte09små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om_bane-med_skilte09små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om_bane-med_skilte09små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om_bane-med_skilte09små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B799FA2C-3599-4110-84FB-1D303544A20E}" vid="{DB568EEE-1337-47D6-8659-F202299DD225}"/>
    </a:ext>
  </a:extLst>
</a:theme>
</file>

<file path=ppt/theme/theme2.xml><?xml version="1.0" encoding="utf-8"?>
<a:theme xmlns:a="http://schemas.openxmlformats.org/drawingml/2006/main" name="Oletu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3FC63CA983E2C45B5EC17951D6976A5" ma:contentTypeVersion="13" ma:contentTypeDescription="Opret et nyt dokument." ma:contentTypeScope="" ma:versionID="ea0c38b51d2f4ed00daa186bec7356b9">
  <xsd:schema xmlns:xsd="http://www.w3.org/2001/XMLSchema" xmlns:xs="http://www.w3.org/2001/XMLSchema" xmlns:p="http://schemas.microsoft.com/office/2006/metadata/properties" xmlns:ns2="1e5bfc5c-de17-4f5c-be04-4fbeebd17f0a" xmlns:ns3="dfc27a06-619b-464b-b753-61f85770eab9" targetNamespace="http://schemas.microsoft.com/office/2006/metadata/properties" ma:root="true" ma:fieldsID="428e188e92ea30f12864716db69d832c" ns2:_="" ns3:_="">
    <xsd:import namespace="1e5bfc5c-de17-4f5c-be04-4fbeebd17f0a"/>
    <xsd:import namespace="dfc27a06-619b-464b-b753-61f85770eab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5bfc5c-de17-4f5c-be04-4fbeebd17f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c27a06-619b-464b-b753-61f85770eab9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51BE4EC-3EC7-41BD-AF00-A5A73733AA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04DF5A6-5CD9-4183-B318-178E8E0B4954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1e5bfc5c-de17-4f5c-be04-4fbeebd17f0a"/>
    <ds:schemaRef ds:uri="http://purl.org/dc/terms/"/>
    <ds:schemaRef ds:uri="dfc27a06-619b-464b-b753-61f85770eab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098794F-931A-48D8-A415-01EDB4E92D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e5bfc5c-de17-4f5c-be04-4fbeebd17f0a"/>
    <ds:schemaRef ds:uri="dfc27a06-619b-464b-b753-61f85770eab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ordic Championship</Template>
  <TotalTime>1309</TotalTime>
  <Words>679</Words>
  <Application>Microsoft Office PowerPoint</Application>
  <PresentationFormat>A4 (210 x 297 mm)</PresentationFormat>
  <Paragraphs>148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9" baseType="lpstr">
      <vt:lpstr>Microsoft YaHei</vt:lpstr>
      <vt:lpstr>Arial</vt:lpstr>
      <vt:lpstr>Calibri</vt:lpstr>
      <vt:lpstr>Consolas</vt:lpstr>
      <vt:lpstr>Times New Roman</vt:lpstr>
      <vt:lpstr>STANDARD tom bane 2017  husk start med gem som</vt:lpstr>
      <vt:lpstr>Oletus</vt:lpstr>
      <vt:lpstr>think-cell Slide</vt:lpstr>
      <vt:lpstr>PowerPoint-præ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Iiris Harju</dc:creator>
  <cp:lastModifiedBy>Microsoft-konto</cp:lastModifiedBy>
  <cp:revision>82</cp:revision>
  <cp:lastPrinted>2022-10-31T19:34:50Z</cp:lastPrinted>
  <dcterms:created xsi:type="dcterms:W3CDTF">2019-02-15T06:36:00Z</dcterms:created>
  <dcterms:modified xsi:type="dcterms:W3CDTF">2022-12-13T12:41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FC63CA983E2C45B5EC17951D6976A5</vt:lpwstr>
  </property>
</Properties>
</file>